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86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bin" ContentType="application/vnd.openxmlformats-officedocument.oleObject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2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70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ommentAuthors.xml" ContentType="application/vnd.openxmlformats-officedocument.presentationml.commentAuthors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424" r:id="rId3"/>
    <p:sldMasterId id="2147485446" r:id="rId4"/>
    <p:sldMasterId id="2147485456" r:id="rId5"/>
    <p:sldMasterId id="2147485490" r:id="rId6"/>
  </p:sldMasterIdLst>
  <p:notesMasterIdLst>
    <p:notesMasterId r:id="rId16"/>
  </p:notesMasterIdLst>
  <p:handoutMasterIdLst>
    <p:handoutMasterId r:id="rId17"/>
  </p:handoutMasterIdLst>
  <p:sldIdLst>
    <p:sldId id="323" r:id="rId7"/>
    <p:sldId id="445" r:id="rId8"/>
    <p:sldId id="443" r:id="rId9"/>
    <p:sldId id="450" r:id="rId10"/>
    <p:sldId id="448" r:id="rId11"/>
    <p:sldId id="444" r:id="rId12"/>
    <p:sldId id="451" r:id="rId13"/>
    <p:sldId id="452" r:id="rId14"/>
    <p:sldId id="453" r:id="rId15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7555" autoAdjust="0"/>
    <p:restoredTop sz="93995" autoAdjust="0"/>
  </p:normalViewPr>
  <p:slideViewPr>
    <p:cSldViewPr snapToGrid="0" snapToObjects="1">
      <p:cViewPr varScale="1">
        <p:scale>
          <a:sx n="79" d="100"/>
          <a:sy n="79" d="100"/>
        </p:scale>
        <p:origin x="-1368" y="-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9/2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9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24606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1494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9498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582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7370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09167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915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45103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42585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089079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941395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4516667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73452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280478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00503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2510726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43998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934902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06650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998524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628038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636483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69006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1070272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xmlns="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p:oleObj spid="_x0000_s1236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pPr/>
              <a:t>2017/9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pPr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xmlns="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78691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99779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75146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39556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2957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775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129033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66016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581314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306904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2203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731587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9094230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50634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410170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121968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151968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678327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972510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428974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3495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5365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2510056" y="6356350"/>
            <a:ext cx="414633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459766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139AF0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97059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96454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21F43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5957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268252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14403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5420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0890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196092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642383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872947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1767589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03797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761275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337693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3473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958603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71588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465417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233228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585387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407682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265551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18121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8157940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Nº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6226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2076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46561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208105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89825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27968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18628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5829690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548042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745310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2178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522830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984579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3066728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01998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189168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9738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755206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3363551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238674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2152651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7711395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671383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xmlns="" val="4132601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023780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xmlns="" val="4038414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p:oleObj spid="_x0000_s2129" name="think-cell Slid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79501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pPr/>
              <a:t>2017/9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pPr/>
              <a:t>‹Nº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xmlns="" val="32327055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599150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7" r:id="rId5"/>
    <p:sldLayoutId id="2147485488" r:id="rId6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761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7" r:id="rId1"/>
    <p:sldLayoutId id="2147485448" r:id="rId2"/>
    <p:sldLayoutId id="2147485449" r:id="rId3"/>
    <p:sldLayoutId id="2147485451" r:id="rId4"/>
    <p:sldLayoutId id="2147485454" r:id="rId5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363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7" r:id="rId1"/>
    <p:sldLayoutId id="2147485458" r:id="rId2"/>
    <p:sldLayoutId id="2147485459" r:id="rId3"/>
    <p:sldLayoutId id="2147485460" r:id="rId4"/>
    <p:sldLayoutId id="2147485461" r:id="rId5"/>
    <p:sldLayoutId id="2147485462" r:id="rId6"/>
    <p:sldLayoutId id="2147485463" r:id="rId7"/>
    <p:sldLayoutId id="2147485464" r:id="rId8"/>
    <p:sldLayoutId id="2147485465" r:id="rId9"/>
    <p:sldLayoutId id="2147485466" r:id="rId10"/>
    <p:sldLayoutId id="2147485467" r:id="rId11"/>
    <p:sldLayoutId id="2147485468" r:id="rId12"/>
    <p:sldLayoutId id="2147485469" r:id="rId13"/>
    <p:sldLayoutId id="2147485470" r:id="rId14"/>
    <p:sldLayoutId id="2147485471" r:id="rId15"/>
    <p:sldLayoutId id="2147485472" r:id="rId16"/>
    <p:sldLayoutId id="2147485473" r:id="rId17"/>
    <p:sldLayoutId id="2147485474" r:id="rId18"/>
    <p:sldLayoutId id="2147485475" r:id="rId19"/>
    <p:sldLayoutId id="2147485476" r:id="rId20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31194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  <p:sldLayoutId id="2147485503" r:id="rId13"/>
    <p:sldLayoutId id="2147485504" r:id="rId14"/>
    <p:sldLayoutId id="2147485505" r:id="rId15"/>
    <p:sldLayoutId id="2147485506" r:id="rId16"/>
    <p:sldLayoutId id="2147485507" r:id="rId17"/>
    <p:sldLayoutId id="2147485508" r:id="rId18"/>
    <p:sldLayoutId id="2147485509" r:id="rId19"/>
    <p:sldLayoutId id="2147485510" r:id="rId20"/>
    <p:sldLayoutId id="2147485511" r:id="rId21"/>
    <p:sldLayoutId id="2147485512" r:id="rId22"/>
    <p:sldLayoutId id="2147485513" r:id="rId23"/>
  </p:sldLayoutIdLst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png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2" Type="http://schemas.openxmlformats.org/officeDocument/2006/relationships/image" Target="../media/image17.jpeg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12 Imagen" descr="panama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3387" y="0"/>
            <a:ext cx="9145666" cy="4360244"/>
          </a:xfrm>
          <a:prstGeom prst="rect">
            <a:avLst/>
          </a:prstGeom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66138" y="6090471"/>
            <a:ext cx="2210432" cy="433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407" r="26016" b="50350"/>
          <a:stretch/>
        </p:blipFill>
        <p:spPr>
          <a:xfrm>
            <a:off x="7415101" y="162734"/>
            <a:ext cx="1571513" cy="987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104019" y="6080902"/>
            <a:ext cx="1403436" cy="45275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1683209" y="3253396"/>
            <a:ext cx="7449070" cy="430887"/>
          </a:xfrm>
          <a:prstGeom prst="rect">
            <a:avLst/>
          </a:prstGeom>
          <a:solidFill>
            <a:schemeClr val="bg1">
              <a:alpha val="9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Calibri" panose="020F0502020204030204" pitchFamily="34" charset="0"/>
              </a:rPr>
              <a:t>29</a:t>
            </a:r>
            <a:r>
              <a:rPr lang="en-US" sz="2200" baseline="30000" dirty="0">
                <a:latin typeface="Calibri" panose="020F0502020204030204" pitchFamily="34" charset="0"/>
              </a:rPr>
              <a:t>th</a:t>
            </a:r>
            <a:r>
              <a:rPr lang="en-US" sz="2200" dirty="0">
                <a:latin typeface="Calibri" panose="020F0502020204030204" pitchFamily="34" charset="0"/>
              </a:rPr>
              <a:t> September, 201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" y="2268511"/>
            <a:ext cx="9132278" cy="1077218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sz="3200" dirty="0">
                <a:solidFill>
                  <a:schemeClr val="bg1"/>
                </a:solidFill>
                <a:latin typeface="Calibri" panose="020F0502020204030204" pitchFamily="34" charset="0"/>
              </a:rPr>
              <a:t>IUWM</a:t>
            </a:r>
            <a: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</a:rPr>
              <a:t> TDD Action Planning</a:t>
            </a:r>
          </a:p>
          <a:p>
            <a:pPr algn="ctr"/>
            <a:r>
              <a:rPr lang="en-US" sz="32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nama</a:t>
            </a:r>
            <a:endParaRPr lang="en-US" sz="2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82729" y="4696630"/>
            <a:ext cx="52038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Haydee</a:t>
            </a:r>
            <a:r>
              <a:rPr lang="en-US" dirty="0" smtClean="0"/>
              <a:t> Osorio, </a:t>
            </a:r>
            <a:r>
              <a:rPr lang="en-US" dirty="0" err="1" smtClean="0"/>
              <a:t>Municipio</a:t>
            </a:r>
            <a:r>
              <a:rPr lang="en-US" dirty="0" smtClean="0"/>
              <a:t> de Panamá</a:t>
            </a:r>
            <a:endParaRPr lang="en-US" dirty="0"/>
          </a:p>
          <a:p>
            <a:r>
              <a:rPr lang="en-US" dirty="0" err="1" smtClean="0"/>
              <a:t>Frida</a:t>
            </a:r>
            <a:r>
              <a:rPr lang="en-US" dirty="0" smtClean="0"/>
              <a:t> </a:t>
            </a:r>
            <a:r>
              <a:rPr lang="en-US" dirty="0" err="1" smtClean="0"/>
              <a:t>Archibold</a:t>
            </a:r>
            <a:r>
              <a:rPr lang="en-US" dirty="0" smtClean="0"/>
              <a:t>, </a:t>
            </a:r>
            <a:r>
              <a:rPr lang="en-US" dirty="0" err="1" smtClean="0"/>
              <a:t>Programa</a:t>
            </a:r>
            <a:r>
              <a:rPr lang="en-US" dirty="0" smtClean="0"/>
              <a:t> </a:t>
            </a:r>
            <a:r>
              <a:rPr lang="en-US" dirty="0" err="1" smtClean="0"/>
              <a:t>Saneamiento</a:t>
            </a:r>
            <a:r>
              <a:rPr lang="en-US" dirty="0" smtClean="0"/>
              <a:t> de Panamá</a:t>
            </a:r>
            <a:endParaRPr lang="en-US" dirty="0"/>
          </a:p>
          <a:p>
            <a:r>
              <a:rPr lang="en-US" dirty="0" smtClean="0"/>
              <a:t>Miguel Vargas, TTL W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72550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1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1</a:t>
            </a:r>
            <a:r>
              <a:rPr lang="en-US" dirty="0"/>
              <a:t>. Key takeaways from IUWM TD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683832" cy="3181421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Engag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takeholder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o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aximiz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articipation</a:t>
            </a:r>
            <a:endParaRPr kumimoji="1" lang="en-US" altLang="ja-JP" sz="2400" dirty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evelop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ntegrat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dat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o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visualiz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place in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holistic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anner</a:t>
            </a:r>
            <a:endParaRPr kumimoji="1" lang="en-US" altLang="ja-JP" sz="2400" dirty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tar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mal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im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oabl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ject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Do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no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expec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quick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in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, IUWM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low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gradual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cess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Re-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brand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ject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o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ak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hem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more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arketabl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olitician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communitie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(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no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nl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echnic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cientific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erspective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mportanc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hav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lan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read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he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her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indow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pportunity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lann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mplementatio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us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nclud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citize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articipaciton</a:t>
            </a:r>
            <a:endParaRPr kumimoji="1" lang="en-US" altLang="ja-JP" sz="2400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43055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2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2</a:t>
            </a:r>
            <a:r>
              <a:rPr lang="en-US" dirty="0"/>
              <a:t>. What needs to be accomplishe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509037"/>
            <a:ext cx="8799336" cy="3181421"/>
          </a:xfrm>
        </p:spPr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Get stakeholders together and find common ground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ioritiz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icrobasin</a:t>
            </a:r>
            <a:endParaRPr kumimoji="1" lang="en-US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Structure a platform or method for data shari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aximiz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nstitution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resources</a:t>
            </a:r>
            <a:r>
              <a:rPr kumimoji="1" lang="es-PA" altLang="ja-JP" sz="2400" smtClean="0">
                <a:solidFill>
                  <a:srgbClr val="00B0F0"/>
                </a:solidFill>
                <a:latin typeface="Calibri" panose="020F0502020204030204" pitchFamily="34" charset="0"/>
              </a:rPr>
              <a:t> 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mplement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IUWM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jec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in a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icrobasin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evelop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non-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tructur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easure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,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uch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s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urba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rainag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regulations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</a:pPr>
            <a:endParaRPr kumimoji="1" lang="en-US" altLang="ja-JP" sz="2400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9140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Coordinate a first meeting among stakeholder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Determine a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icrobasin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o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ct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upon</a:t>
            </a:r>
            <a:endParaRPr kumimoji="1" lang="es-PA" altLang="ja-JP" sz="28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evelop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data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ducts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ndicators</a:t>
            </a:r>
            <a:endParaRPr kumimoji="1" lang="es-PA" altLang="ja-JP" sz="28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tructure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 data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haring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latform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/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r</a:t>
            </a:r>
            <a:r>
              <a:rPr kumimoji="1" lang="es-PA" altLang="ja-JP" sz="28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8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echanism</a:t>
            </a:r>
            <a:endParaRPr kumimoji="1" lang="en-US" altLang="ja-JP" sz="2800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8805" y="306369"/>
            <a:ext cx="7194572" cy="756707"/>
          </a:xfrm>
        </p:spPr>
        <p:txBody>
          <a:bodyPr/>
          <a:lstStyle/>
          <a:p>
            <a:r>
              <a:rPr/>
              <a:t>3</a:t>
            </a:r>
            <a:r>
              <a:rPr lang="en-US" dirty="0" smtClean="0"/>
              <a:t>.</a:t>
            </a:r>
            <a:r>
              <a:rPr lang="ja-JP" altLang="en-US" smtClean="0"/>
              <a:t> </a:t>
            </a:r>
            <a:r>
              <a:rPr lang="en-US" dirty="0" smtClean="0"/>
              <a:t> </a:t>
            </a:r>
            <a:r>
              <a:rPr lang="en-US" dirty="0"/>
              <a:t>Action Steps in the f</a:t>
            </a:r>
            <a:r>
              <a:rPr lang="en-US" altLang="ja-JP" dirty="0"/>
              <a:t>irst 6 month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49507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4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/>
              <a:t>4</a:t>
            </a:r>
            <a:r>
              <a:rPr lang="en-US" dirty="0" smtClean="0"/>
              <a:t>. </a:t>
            </a:r>
            <a:r>
              <a:rPr lang="en-US" dirty="0"/>
              <a:t>Key stakehold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5" y="1393534"/>
            <a:ext cx="8837837" cy="4237245"/>
          </a:xfrm>
        </p:spPr>
        <p:txBody>
          <a:bodyPr numCol="2"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b="1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anama</a:t>
            </a:r>
            <a:r>
              <a:rPr kumimoji="1" lang="es-PA" altLang="ja-JP" sz="2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 City </a:t>
            </a:r>
            <a:r>
              <a:rPr kumimoji="1" lang="es-PA" altLang="ja-JP" sz="2400" b="1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unicipality</a:t>
            </a:r>
            <a:endParaRPr kumimoji="1" lang="es-PA" altLang="ja-JP" sz="2400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b="1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anitation</a:t>
            </a:r>
            <a:r>
              <a:rPr kumimoji="1" lang="es-PA" altLang="ja-JP" sz="2400" b="1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b="1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gram</a:t>
            </a:r>
            <a:endParaRPr kumimoji="1" lang="es-PA" altLang="ja-JP" sz="2400" b="1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rraija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City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unicipalit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(TBD)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ninistr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ublic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Work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Nation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ate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uthority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inistr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Environment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inistr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Hous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Territorial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evelopment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Nation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olid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ast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Management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uthority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Garbag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Collectio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Companies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Nation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Civil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tectio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gency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evelopers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smtClean="0">
                <a:solidFill>
                  <a:srgbClr val="00B0F0"/>
                </a:solidFill>
                <a:latin typeface="Calibri" panose="020F0502020204030204" pitchFamily="34" charset="0"/>
              </a:rPr>
              <a:t>Universities</a:t>
            </a: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Multilateral Agencies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s-PA" altLang="ja-JP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921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5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/>
              <a:t>5</a:t>
            </a:r>
            <a:r>
              <a:rPr lang="en-US" dirty="0" smtClean="0"/>
              <a:t>. </a:t>
            </a:r>
            <a:r>
              <a:rPr lang="en-US" dirty="0"/>
              <a:t>The </a:t>
            </a:r>
            <a:r>
              <a:rPr lang="en-US" dirty="0" smtClean="0"/>
              <a:t>timeline (18 months)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" name="Flecha: a la derecha 4"/>
          <p:cNvSpPr/>
          <p:nvPr/>
        </p:nvSpPr>
        <p:spPr>
          <a:xfrm>
            <a:off x="225425" y="3128963"/>
            <a:ext cx="8668319" cy="102711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7" name="Elipse 16"/>
          <p:cNvSpPr/>
          <p:nvPr/>
        </p:nvSpPr>
        <p:spPr>
          <a:xfrm>
            <a:off x="579375" y="3211513"/>
            <a:ext cx="928688" cy="825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/>
              <a:t>1</a:t>
            </a:r>
            <a:endParaRPr lang="es-MX" b="1" dirty="0"/>
          </a:p>
        </p:txBody>
      </p:sp>
      <p:sp>
        <p:nvSpPr>
          <p:cNvPr id="9" name="Elipse 18"/>
          <p:cNvSpPr/>
          <p:nvPr/>
        </p:nvSpPr>
        <p:spPr>
          <a:xfrm>
            <a:off x="2519300" y="3201988"/>
            <a:ext cx="927100" cy="825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dirty="0" smtClean="0"/>
              <a:t>3</a:t>
            </a:r>
            <a:endParaRPr lang="es-MX" b="1" dirty="0"/>
          </a:p>
        </p:txBody>
      </p:sp>
      <p:sp>
        <p:nvSpPr>
          <p:cNvPr id="10" name="Elipse 19"/>
          <p:cNvSpPr/>
          <p:nvPr/>
        </p:nvSpPr>
        <p:spPr>
          <a:xfrm>
            <a:off x="6805550" y="3201988"/>
            <a:ext cx="928688" cy="825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/>
              <a:t>18</a:t>
            </a:r>
            <a:endParaRPr lang="es-MX" b="1" dirty="0"/>
          </a:p>
        </p:txBody>
      </p:sp>
      <p:sp>
        <p:nvSpPr>
          <p:cNvPr id="11" name="Elipse 20"/>
          <p:cNvSpPr/>
          <p:nvPr/>
        </p:nvSpPr>
        <p:spPr>
          <a:xfrm>
            <a:off x="4214750" y="3213100"/>
            <a:ext cx="928688" cy="825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dirty="0" smtClean="0"/>
              <a:t>6</a:t>
            </a:r>
            <a:endParaRPr lang="es-MX" b="1" dirty="0"/>
          </a:p>
        </p:txBody>
      </p:sp>
      <p:sp>
        <p:nvSpPr>
          <p:cNvPr id="12" name="Elipse 21"/>
          <p:cNvSpPr/>
          <p:nvPr/>
        </p:nvSpPr>
        <p:spPr>
          <a:xfrm>
            <a:off x="5578413" y="3238500"/>
            <a:ext cx="928687" cy="8255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b="1" dirty="0" smtClean="0"/>
              <a:t>9</a:t>
            </a:r>
            <a:endParaRPr lang="es-MX" b="1" dirty="0"/>
          </a:p>
        </p:txBody>
      </p:sp>
      <p:cxnSp>
        <p:nvCxnSpPr>
          <p:cNvPr id="13" name="Conector recto de flecha 27"/>
          <p:cNvCxnSpPr>
            <a:cxnSpLocks/>
            <a:stCxn id="7" idx="1"/>
          </p:cNvCxnSpPr>
          <p:nvPr/>
        </p:nvCxnSpPr>
        <p:spPr>
          <a:xfrm rot="5400000" flipH="1" flipV="1">
            <a:off x="355887" y="2962992"/>
            <a:ext cx="728904" cy="9922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5" name="Conector recto de flecha 33"/>
          <p:cNvCxnSpPr>
            <a:cxnSpLocks/>
            <a:stCxn id="9" idx="3"/>
          </p:cNvCxnSpPr>
          <p:nvPr/>
        </p:nvCxnSpPr>
        <p:spPr>
          <a:xfrm rot="16200000" flipH="1">
            <a:off x="2290515" y="4271151"/>
            <a:ext cx="729113" cy="1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4" name="CuadroTexto 6"/>
          <p:cNvSpPr txBox="1">
            <a:spLocks noChangeArrowheads="1"/>
          </p:cNvSpPr>
          <p:nvPr/>
        </p:nvSpPr>
        <p:spPr bwMode="auto">
          <a:xfrm>
            <a:off x="541475" y="1614513"/>
            <a:ext cx="2471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Firs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workshop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Identify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microbasin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nd a data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sharing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method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MX" altLang="es-MX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2" name="CuadroTexto 6"/>
          <p:cNvSpPr txBox="1">
            <a:spLocks noChangeArrowheads="1"/>
          </p:cNvSpPr>
          <p:nvPr/>
        </p:nvSpPr>
        <p:spPr bwMode="auto">
          <a:xfrm>
            <a:off x="1896177" y="4716403"/>
            <a:ext cx="2318573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Second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workshop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Integrate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data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products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for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visualization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of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microbasin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MX" altLang="es-MX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4" name="CuadroTexto 6"/>
          <p:cNvSpPr txBox="1">
            <a:spLocks noChangeArrowheads="1"/>
          </p:cNvSpPr>
          <p:nvPr/>
        </p:nvSpPr>
        <p:spPr bwMode="auto">
          <a:xfrm>
            <a:off x="4093206" y="1630938"/>
            <a:ext cx="217746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Third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workshop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Devvelop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 Plan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to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implemen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small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pilo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projec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MX" altLang="es-MX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5" name="CuadroTexto 6"/>
          <p:cNvSpPr txBox="1">
            <a:spLocks noChangeArrowheads="1"/>
          </p:cNvSpPr>
          <p:nvPr/>
        </p:nvSpPr>
        <p:spPr bwMode="auto">
          <a:xfrm>
            <a:off x="5239688" y="4808736"/>
            <a:ext cx="284553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Develop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marketing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strategy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nd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materials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for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engaging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other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stakeholders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nd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related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communities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MX" altLang="es-MX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6" name="CuadroTexto 6"/>
          <p:cNvSpPr txBox="1">
            <a:spLocks noChangeArrowheads="1"/>
          </p:cNvSpPr>
          <p:nvPr/>
        </p:nvSpPr>
        <p:spPr bwMode="auto">
          <a:xfrm>
            <a:off x="6693631" y="1952844"/>
            <a:ext cx="20812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Implemen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a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pilo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es-PA" altLang="es-MX" dirty="0" err="1" smtClean="0">
                <a:solidFill>
                  <a:schemeClr val="bg2">
                    <a:lumMod val="25000"/>
                  </a:schemeClr>
                </a:solidFill>
              </a:rPr>
              <a:t>project</a:t>
            </a:r>
            <a:r>
              <a:rPr lang="es-PA" altLang="es-MX" dirty="0" smtClean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s-MX" altLang="es-MX" dirty="0">
              <a:solidFill>
                <a:schemeClr val="bg2">
                  <a:lumMod val="25000"/>
                </a:schemeClr>
              </a:solidFill>
            </a:endParaRPr>
          </a:p>
        </p:txBody>
      </p:sp>
      <p:cxnSp>
        <p:nvCxnSpPr>
          <p:cNvPr id="52" name="Conector recto de flecha 36"/>
          <p:cNvCxnSpPr>
            <a:cxnSpLocks/>
            <a:stCxn id="11" idx="1"/>
          </p:cNvCxnSpPr>
          <p:nvPr/>
        </p:nvCxnSpPr>
        <p:spPr>
          <a:xfrm rot="16200000" flipV="1">
            <a:off x="4074021" y="3057260"/>
            <a:ext cx="553332" cy="132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5" name="Conector recto de flecha 37"/>
          <p:cNvCxnSpPr>
            <a:cxnSpLocks/>
            <a:stCxn id="12" idx="3"/>
          </p:cNvCxnSpPr>
          <p:nvPr/>
        </p:nvCxnSpPr>
        <p:spPr>
          <a:xfrm rot="16200000" flipH="1">
            <a:off x="5327768" y="4329755"/>
            <a:ext cx="773297" cy="1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8" name="Conector recto de flecha 36"/>
          <p:cNvCxnSpPr>
            <a:cxnSpLocks/>
            <a:stCxn id="10" idx="1"/>
          </p:cNvCxnSpPr>
          <p:nvPr/>
        </p:nvCxnSpPr>
        <p:spPr>
          <a:xfrm rot="5400000" flipH="1" flipV="1">
            <a:off x="6581864" y="2963191"/>
            <a:ext cx="719379" cy="1588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239461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o 3"/>
          <p:cNvGrpSpPr>
            <a:grpSpLocks noChangeAspect="1"/>
          </p:cNvGrpSpPr>
          <p:nvPr/>
        </p:nvGrpSpPr>
        <p:grpSpPr bwMode="auto">
          <a:xfrm>
            <a:off x="5579639" y="3310246"/>
            <a:ext cx="3554730" cy="2164080"/>
            <a:chOff x="2479432" y="2024215"/>
            <a:chExt cx="6524380" cy="4613489"/>
          </a:xfrm>
        </p:grpSpPr>
        <p:pic>
          <p:nvPicPr>
            <p:cNvPr id="9" name="Imagen 6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479432" y="2024215"/>
              <a:ext cx="6524380" cy="46134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Forma libre 16">
              <a:extLst>
                <a:ext uri="{FF2B5EF4-FFF2-40B4-BE49-F238E27FC236}">
                  <a16:creationId xmlns:a16="http://schemas.microsoft.com/office/drawing/2014/main" xmlns="" id="{D6747842-2320-46D6-B97F-52A50AF922B7}"/>
                </a:ext>
              </a:extLst>
            </p:cNvPr>
            <p:cNvSpPr/>
            <p:nvPr/>
          </p:nvSpPr>
          <p:spPr>
            <a:xfrm>
              <a:off x="3360538" y="2527800"/>
              <a:ext cx="2304163" cy="3768766"/>
            </a:xfrm>
            <a:custGeom>
              <a:avLst/>
              <a:gdLst>
                <a:gd name="connsiteX0" fmla="*/ 2184400 w 2305050"/>
                <a:gd name="connsiteY0" fmla="*/ 0 h 3765550"/>
                <a:gd name="connsiteX1" fmla="*/ 2305050 w 2305050"/>
                <a:gd name="connsiteY1" fmla="*/ 209550 h 3765550"/>
                <a:gd name="connsiteX2" fmla="*/ 2292350 w 2305050"/>
                <a:gd name="connsiteY2" fmla="*/ 406400 h 3765550"/>
                <a:gd name="connsiteX3" fmla="*/ 2228850 w 2305050"/>
                <a:gd name="connsiteY3" fmla="*/ 539750 h 3765550"/>
                <a:gd name="connsiteX4" fmla="*/ 2209800 w 2305050"/>
                <a:gd name="connsiteY4" fmla="*/ 660400 h 3765550"/>
                <a:gd name="connsiteX5" fmla="*/ 2120900 w 2305050"/>
                <a:gd name="connsiteY5" fmla="*/ 768350 h 3765550"/>
                <a:gd name="connsiteX6" fmla="*/ 2063750 w 2305050"/>
                <a:gd name="connsiteY6" fmla="*/ 787400 h 3765550"/>
                <a:gd name="connsiteX7" fmla="*/ 2063750 w 2305050"/>
                <a:gd name="connsiteY7" fmla="*/ 787400 h 3765550"/>
                <a:gd name="connsiteX8" fmla="*/ 1981200 w 2305050"/>
                <a:gd name="connsiteY8" fmla="*/ 831850 h 3765550"/>
                <a:gd name="connsiteX9" fmla="*/ 1943100 w 2305050"/>
                <a:gd name="connsiteY9" fmla="*/ 933450 h 3765550"/>
                <a:gd name="connsiteX10" fmla="*/ 1885950 w 2305050"/>
                <a:gd name="connsiteY10" fmla="*/ 984250 h 3765550"/>
                <a:gd name="connsiteX11" fmla="*/ 1822450 w 2305050"/>
                <a:gd name="connsiteY11" fmla="*/ 1009650 h 3765550"/>
                <a:gd name="connsiteX12" fmla="*/ 1765300 w 2305050"/>
                <a:gd name="connsiteY12" fmla="*/ 1060450 h 3765550"/>
                <a:gd name="connsiteX13" fmla="*/ 1720850 w 2305050"/>
                <a:gd name="connsiteY13" fmla="*/ 1123950 h 3765550"/>
                <a:gd name="connsiteX14" fmla="*/ 1644650 w 2305050"/>
                <a:gd name="connsiteY14" fmla="*/ 1117600 h 3765550"/>
                <a:gd name="connsiteX15" fmla="*/ 1549400 w 2305050"/>
                <a:gd name="connsiteY15" fmla="*/ 1022350 h 3765550"/>
                <a:gd name="connsiteX16" fmla="*/ 1644650 w 2305050"/>
                <a:gd name="connsiteY16" fmla="*/ 914400 h 3765550"/>
                <a:gd name="connsiteX17" fmla="*/ 1663700 w 2305050"/>
                <a:gd name="connsiteY17" fmla="*/ 781050 h 3765550"/>
                <a:gd name="connsiteX18" fmla="*/ 1625600 w 2305050"/>
                <a:gd name="connsiteY18" fmla="*/ 704850 h 3765550"/>
                <a:gd name="connsiteX19" fmla="*/ 1517650 w 2305050"/>
                <a:gd name="connsiteY19" fmla="*/ 704850 h 3765550"/>
                <a:gd name="connsiteX20" fmla="*/ 1435100 w 2305050"/>
                <a:gd name="connsiteY20" fmla="*/ 749300 h 3765550"/>
                <a:gd name="connsiteX21" fmla="*/ 1358900 w 2305050"/>
                <a:gd name="connsiteY21" fmla="*/ 831850 h 3765550"/>
                <a:gd name="connsiteX22" fmla="*/ 1289050 w 2305050"/>
                <a:gd name="connsiteY22" fmla="*/ 901700 h 3765550"/>
                <a:gd name="connsiteX23" fmla="*/ 1212850 w 2305050"/>
                <a:gd name="connsiteY23" fmla="*/ 920750 h 3765550"/>
                <a:gd name="connsiteX24" fmla="*/ 1092200 w 2305050"/>
                <a:gd name="connsiteY24" fmla="*/ 908050 h 3765550"/>
                <a:gd name="connsiteX25" fmla="*/ 1092200 w 2305050"/>
                <a:gd name="connsiteY25" fmla="*/ 908050 h 3765550"/>
                <a:gd name="connsiteX26" fmla="*/ 1022350 w 2305050"/>
                <a:gd name="connsiteY26" fmla="*/ 933450 h 3765550"/>
                <a:gd name="connsiteX27" fmla="*/ 990600 w 2305050"/>
                <a:gd name="connsiteY27" fmla="*/ 901700 h 3765550"/>
                <a:gd name="connsiteX28" fmla="*/ 977900 w 2305050"/>
                <a:gd name="connsiteY28" fmla="*/ 882650 h 3765550"/>
                <a:gd name="connsiteX29" fmla="*/ 927100 w 2305050"/>
                <a:gd name="connsiteY29" fmla="*/ 901700 h 3765550"/>
                <a:gd name="connsiteX30" fmla="*/ 876300 w 2305050"/>
                <a:gd name="connsiteY30" fmla="*/ 933450 h 3765550"/>
                <a:gd name="connsiteX31" fmla="*/ 838200 w 2305050"/>
                <a:gd name="connsiteY31" fmla="*/ 939800 h 3765550"/>
                <a:gd name="connsiteX32" fmla="*/ 774700 w 2305050"/>
                <a:gd name="connsiteY32" fmla="*/ 927100 h 3765550"/>
                <a:gd name="connsiteX33" fmla="*/ 666750 w 2305050"/>
                <a:gd name="connsiteY33" fmla="*/ 952500 h 3765550"/>
                <a:gd name="connsiteX34" fmla="*/ 596900 w 2305050"/>
                <a:gd name="connsiteY34" fmla="*/ 977900 h 3765550"/>
                <a:gd name="connsiteX35" fmla="*/ 508000 w 2305050"/>
                <a:gd name="connsiteY35" fmla="*/ 977900 h 3765550"/>
                <a:gd name="connsiteX36" fmla="*/ 374650 w 2305050"/>
                <a:gd name="connsiteY36" fmla="*/ 977900 h 3765550"/>
                <a:gd name="connsiteX37" fmla="*/ 279400 w 2305050"/>
                <a:gd name="connsiteY37" fmla="*/ 984250 h 3765550"/>
                <a:gd name="connsiteX38" fmla="*/ 196850 w 2305050"/>
                <a:gd name="connsiteY38" fmla="*/ 1022350 h 3765550"/>
                <a:gd name="connsiteX39" fmla="*/ 114300 w 2305050"/>
                <a:gd name="connsiteY39" fmla="*/ 1092200 h 3765550"/>
                <a:gd name="connsiteX40" fmla="*/ 127000 w 2305050"/>
                <a:gd name="connsiteY40" fmla="*/ 1168400 h 3765550"/>
                <a:gd name="connsiteX41" fmla="*/ 146050 w 2305050"/>
                <a:gd name="connsiteY41" fmla="*/ 1263650 h 3765550"/>
                <a:gd name="connsiteX42" fmla="*/ 184150 w 2305050"/>
                <a:gd name="connsiteY42" fmla="*/ 1358900 h 3765550"/>
                <a:gd name="connsiteX43" fmla="*/ 215900 w 2305050"/>
                <a:gd name="connsiteY43" fmla="*/ 1473200 h 3765550"/>
                <a:gd name="connsiteX44" fmla="*/ 158750 w 2305050"/>
                <a:gd name="connsiteY44" fmla="*/ 1543050 h 3765550"/>
                <a:gd name="connsiteX45" fmla="*/ 114300 w 2305050"/>
                <a:gd name="connsiteY45" fmla="*/ 1600200 h 3765550"/>
                <a:gd name="connsiteX46" fmla="*/ 50800 w 2305050"/>
                <a:gd name="connsiteY46" fmla="*/ 1631950 h 3765550"/>
                <a:gd name="connsiteX47" fmla="*/ 38100 w 2305050"/>
                <a:gd name="connsiteY47" fmla="*/ 1682750 h 3765550"/>
                <a:gd name="connsiteX48" fmla="*/ 95250 w 2305050"/>
                <a:gd name="connsiteY48" fmla="*/ 1746250 h 3765550"/>
                <a:gd name="connsiteX49" fmla="*/ 152400 w 2305050"/>
                <a:gd name="connsiteY49" fmla="*/ 1733550 h 3765550"/>
                <a:gd name="connsiteX50" fmla="*/ 152400 w 2305050"/>
                <a:gd name="connsiteY50" fmla="*/ 1733550 h 3765550"/>
                <a:gd name="connsiteX51" fmla="*/ 215900 w 2305050"/>
                <a:gd name="connsiteY51" fmla="*/ 1790700 h 3765550"/>
                <a:gd name="connsiteX52" fmla="*/ 260350 w 2305050"/>
                <a:gd name="connsiteY52" fmla="*/ 1771650 h 3765550"/>
                <a:gd name="connsiteX53" fmla="*/ 304800 w 2305050"/>
                <a:gd name="connsiteY53" fmla="*/ 1720850 h 3765550"/>
                <a:gd name="connsiteX54" fmla="*/ 342900 w 2305050"/>
                <a:gd name="connsiteY54" fmla="*/ 1720850 h 3765550"/>
                <a:gd name="connsiteX55" fmla="*/ 400050 w 2305050"/>
                <a:gd name="connsiteY55" fmla="*/ 1765300 h 3765550"/>
                <a:gd name="connsiteX56" fmla="*/ 438150 w 2305050"/>
                <a:gd name="connsiteY56" fmla="*/ 1816100 h 3765550"/>
                <a:gd name="connsiteX57" fmla="*/ 508000 w 2305050"/>
                <a:gd name="connsiteY57" fmla="*/ 1797050 h 3765550"/>
                <a:gd name="connsiteX58" fmla="*/ 558800 w 2305050"/>
                <a:gd name="connsiteY58" fmla="*/ 1739900 h 3765550"/>
                <a:gd name="connsiteX59" fmla="*/ 603250 w 2305050"/>
                <a:gd name="connsiteY59" fmla="*/ 1714500 h 3765550"/>
                <a:gd name="connsiteX60" fmla="*/ 647700 w 2305050"/>
                <a:gd name="connsiteY60" fmla="*/ 1752600 h 3765550"/>
                <a:gd name="connsiteX61" fmla="*/ 666750 w 2305050"/>
                <a:gd name="connsiteY61" fmla="*/ 1828800 h 3765550"/>
                <a:gd name="connsiteX62" fmla="*/ 660400 w 2305050"/>
                <a:gd name="connsiteY62" fmla="*/ 1949450 h 3765550"/>
                <a:gd name="connsiteX63" fmla="*/ 628650 w 2305050"/>
                <a:gd name="connsiteY63" fmla="*/ 2006600 h 3765550"/>
                <a:gd name="connsiteX64" fmla="*/ 673100 w 2305050"/>
                <a:gd name="connsiteY64" fmla="*/ 2076450 h 3765550"/>
                <a:gd name="connsiteX65" fmla="*/ 698500 w 2305050"/>
                <a:gd name="connsiteY65" fmla="*/ 2114550 h 3765550"/>
                <a:gd name="connsiteX66" fmla="*/ 685800 w 2305050"/>
                <a:gd name="connsiteY66" fmla="*/ 2190750 h 3765550"/>
                <a:gd name="connsiteX67" fmla="*/ 622300 w 2305050"/>
                <a:gd name="connsiteY67" fmla="*/ 2203450 h 3765550"/>
                <a:gd name="connsiteX68" fmla="*/ 565150 w 2305050"/>
                <a:gd name="connsiteY68" fmla="*/ 2152650 h 3765550"/>
                <a:gd name="connsiteX69" fmla="*/ 539750 w 2305050"/>
                <a:gd name="connsiteY69" fmla="*/ 2057400 h 3765550"/>
                <a:gd name="connsiteX70" fmla="*/ 482600 w 2305050"/>
                <a:gd name="connsiteY70" fmla="*/ 2051050 h 3765550"/>
                <a:gd name="connsiteX71" fmla="*/ 400050 w 2305050"/>
                <a:gd name="connsiteY71" fmla="*/ 2012950 h 3765550"/>
                <a:gd name="connsiteX72" fmla="*/ 330200 w 2305050"/>
                <a:gd name="connsiteY72" fmla="*/ 2025650 h 3765550"/>
                <a:gd name="connsiteX73" fmla="*/ 298450 w 2305050"/>
                <a:gd name="connsiteY73" fmla="*/ 2095500 h 3765550"/>
                <a:gd name="connsiteX74" fmla="*/ 273050 w 2305050"/>
                <a:gd name="connsiteY74" fmla="*/ 2133600 h 3765550"/>
                <a:gd name="connsiteX75" fmla="*/ 222250 w 2305050"/>
                <a:gd name="connsiteY75" fmla="*/ 2120900 h 3765550"/>
                <a:gd name="connsiteX76" fmla="*/ 190500 w 2305050"/>
                <a:gd name="connsiteY76" fmla="*/ 2038350 h 3765550"/>
                <a:gd name="connsiteX77" fmla="*/ 196850 w 2305050"/>
                <a:gd name="connsiteY77" fmla="*/ 1987550 h 3765550"/>
                <a:gd name="connsiteX78" fmla="*/ 190500 w 2305050"/>
                <a:gd name="connsiteY78" fmla="*/ 1917700 h 3765550"/>
                <a:gd name="connsiteX79" fmla="*/ 120650 w 2305050"/>
                <a:gd name="connsiteY79" fmla="*/ 1917700 h 3765550"/>
                <a:gd name="connsiteX80" fmla="*/ 44450 w 2305050"/>
                <a:gd name="connsiteY80" fmla="*/ 2006600 h 3765550"/>
                <a:gd name="connsiteX81" fmla="*/ 0 w 2305050"/>
                <a:gd name="connsiteY81" fmla="*/ 2070100 h 3765550"/>
                <a:gd name="connsiteX82" fmla="*/ 6350 w 2305050"/>
                <a:gd name="connsiteY82" fmla="*/ 2171700 h 3765550"/>
                <a:gd name="connsiteX83" fmla="*/ 69850 w 2305050"/>
                <a:gd name="connsiteY83" fmla="*/ 2241550 h 3765550"/>
                <a:gd name="connsiteX84" fmla="*/ 158750 w 2305050"/>
                <a:gd name="connsiteY84" fmla="*/ 2330450 h 3765550"/>
                <a:gd name="connsiteX85" fmla="*/ 241300 w 2305050"/>
                <a:gd name="connsiteY85" fmla="*/ 2393950 h 3765550"/>
                <a:gd name="connsiteX86" fmla="*/ 285750 w 2305050"/>
                <a:gd name="connsiteY86" fmla="*/ 2444750 h 3765550"/>
                <a:gd name="connsiteX87" fmla="*/ 393700 w 2305050"/>
                <a:gd name="connsiteY87" fmla="*/ 2546350 h 3765550"/>
                <a:gd name="connsiteX88" fmla="*/ 457200 w 2305050"/>
                <a:gd name="connsiteY88" fmla="*/ 2622550 h 3765550"/>
                <a:gd name="connsiteX89" fmla="*/ 457200 w 2305050"/>
                <a:gd name="connsiteY89" fmla="*/ 2622550 h 3765550"/>
                <a:gd name="connsiteX90" fmla="*/ 514350 w 2305050"/>
                <a:gd name="connsiteY90" fmla="*/ 2724150 h 3765550"/>
                <a:gd name="connsiteX91" fmla="*/ 527050 w 2305050"/>
                <a:gd name="connsiteY91" fmla="*/ 2825750 h 3765550"/>
                <a:gd name="connsiteX92" fmla="*/ 571500 w 2305050"/>
                <a:gd name="connsiteY92" fmla="*/ 2933700 h 3765550"/>
                <a:gd name="connsiteX93" fmla="*/ 615950 w 2305050"/>
                <a:gd name="connsiteY93" fmla="*/ 3009900 h 3765550"/>
                <a:gd name="connsiteX94" fmla="*/ 673100 w 2305050"/>
                <a:gd name="connsiteY94" fmla="*/ 3054350 h 3765550"/>
                <a:gd name="connsiteX95" fmla="*/ 723900 w 2305050"/>
                <a:gd name="connsiteY95" fmla="*/ 3117850 h 3765550"/>
                <a:gd name="connsiteX96" fmla="*/ 749300 w 2305050"/>
                <a:gd name="connsiteY96" fmla="*/ 3187700 h 3765550"/>
                <a:gd name="connsiteX97" fmla="*/ 812800 w 2305050"/>
                <a:gd name="connsiteY97" fmla="*/ 3232150 h 3765550"/>
                <a:gd name="connsiteX98" fmla="*/ 914400 w 2305050"/>
                <a:gd name="connsiteY98" fmla="*/ 3257550 h 3765550"/>
                <a:gd name="connsiteX99" fmla="*/ 990600 w 2305050"/>
                <a:gd name="connsiteY99" fmla="*/ 3302000 h 3765550"/>
                <a:gd name="connsiteX100" fmla="*/ 1028700 w 2305050"/>
                <a:gd name="connsiteY100" fmla="*/ 3352800 h 3765550"/>
                <a:gd name="connsiteX101" fmla="*/ 1079500 w 2305050"/>
                <a:gd name="connsiteY101" fmla="*/ 3416300 h 3765550"/>
                <a:gd name="connsiteX102" fmla="*/ 1143000 w 2305050"/>
                <a:gd name="connsiteY102" fmla="*/ 3416300 h 3765550"/>
                <a:gd name="connsiteX103" fmla="*/ 1225550 w 2305050"/>
                <a:gd name="connsiteY103" fmla="*/ 3409950 h 3765550"/>
                <a:gd name="connsiteX104" fmla="*/ 1346200 w 2305050"/>
                <a:gd name="connsiteY104" fmla="*/ 3454400 h 3765550"/>
                <a:gd name="connsiteX105" fmla="*/ 1435100 w 2305050"/>
                <a:gd name="connsiteY105" fmla="*/ 3530600 h 3765550"/>
                <a:gd name="connsiteX106" fmla="*/ 1485900 w 2305050"/>
                <a:gd name="connsiteY106" fmla="*/ 3625850 h 3765550"/>
                <a:gd name="connsiteX107" fmla="*/ 1536700 w 2305050"/>
                <a:gd name="connsiteY107" fmla="*/ 3644900 h 3765550"/>
                <a:gd name="connsiteX108" fmla="*/ 1600200 w 2305050"/>
                <a:gd name="connsiteY108" fmla="*/ 3619500 h 3765550"/>
                <a:gd name="connsiteX109" fmla="*/ 1682750 w 2305050"/>
                <a:gd name="connsiteY109" fmla="*/ 3530600 h 3765550"/>
                <a:gd name="connsiteX110" fmla="*/ 1758950 w 2305050"/>
                <a:gd name="connsiteY110" fmla="*/ 3479800 h 3765550"/>
                <a:gd name="connsiteX111" fmla="*/ 1828800 w 2305050"/>
                <a:gd name="connsiteY111" fmla="*/ 3486150 h 3765550"/>
                <a:gd name="connsiteX112" fmla="*/ 1905000 w 2305050"/>
                <a:gd name="connsiteY112" fmla="*/ 3530600 h 3765550"/>
                <a:gd name="connsiteX113" fmla="*/ 1905000 w 2305050"/>
                <a:gd name="connsiteY113" fmla="*/ 3530600 h 3765550"/>
                <a:gd name="connsiteX114" fmla="*/ 1905000 w 2305050"/>
                <a:gd name="connsiteY114" fmla="*/ 3530600 h 3765550"/>
                <a:gd name="connsiteX115" fmla="*/ 1898650 w 2305050"/>
                <a:gd name="connsiteY115" fmla="*/ 3594100 h 3765550"/>
                <a:gd name="connsiteX116" fmla="*/ 1860550 w 2305050"/>
                <a:gd name="connsiteY116" fmla="*/ 3632200 h 3765550"/>
                <a:gd name="connsiteX117" fmla="*/ 1847850 w 2305050"/>
                <a:gd name="connsiteY117" fmla="*/ 3676650 h 3765550"/>
                <a:gd name="connsiteX118" fmla="*/ 1866900 w 2305050"/>
                <a:gd name="connsiteY118" fmla="*/ 3746500 h 3765550"/>
                <a:gd name="connsiteX119" fmla="*/ 1873250 w 2305050"/>
                <a:gd name="connsiteY119" fmla="*/ 3765550 h 3765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2305050" h="3765550">
                  <a:moveTo>
                    <a:pt x="2184400" y="0"/>
                  </a:moveTo>
                  <a:lnTo>
                    <a:pt x="2305050" y="209550"/>
                  </a:lnTo>
                  <a:lnTo>
                    <a:pt x="2292350" y="406400"/>
                  </a:lnTo>
                  <a:lnTo>
                    <a:pt x="2228850" y="539750"/>
                  </a:lnTo>
                  <a:lnTo>
                    <a:pt x="2209800" y="660400"/>
                  </a:lnTo>
                  <a:lnTo>
                    <a:pt x="2120900" y="768350"/>
                  </a:lnTo>
                  <a:lnTo>
                    <a:pt x="2063750" y="787400"/>
                  </a:lnTo>
                  <a:lnTo>
                    <a:pt x="2063750" y="787400"/>
                  </a:lnTo>
                  <a:lnTo>
                    <a:pt x="1981200" y="831850"/>
                  </a:lnTo>
                  <a:lnTo>
                    <a:pt x="1943100" y="933450"/>
                  </a:lnTo>
                  <a:lnTo>
                    <a:pt x="1885950" y="984250"/>
                  </a:lnTo>
                  <a:lnTo>
                    <a:pt x="1822450" y="1009650"/>
                  </a:lnTo>
                  <a:lnTo>
                    <a:pt x="1765300" y="1060450"/>
                  </a:lnTo>
                  <a:lnTo>
                    <a:pt x="1720850" y="1123950"/>
                  </a:lnTo>
                  <a:lnTo>
                    <a:pt x="1644650" y="1117600"/>
                  </a:lnTo>
                  <a:lnTo>
                    <a:pt x="1549400" y="1022350"/>
                  </a:lnTo>
                  <a:lnTo>
                    <a:pt x="1644650" y="914400"/>
                  </a:lnTo>
                  <a:lnTo>
                    <a:pt x="1663700" y="781050"/>
                  </a:lnTo>
                  <a:lnTo>
                    <a:pt x="1625600" y="704850"/>
                  </a:lnTo>
                  <a:lnTo>
                    <a:pt x="1517650" y="704850"/>
                  </a:lnTo>
                  <a:lnTo>
                    <a:pt x="1435100" y="749300"/>
                  </a:lnTo>
                  <a:lnTo>
                    <a:pt x="1358900" y="831850"/>
                  </a:lnTo>
                  <a:lnTo>
                    <a:pt x="1289050" y="901700"/>
                  </a:lnTo>
                  <a:lnTo>
                    <a:pt x="1212850" y="920750"/>
                  </a:lnTo>
                  <a:lnTo>
                    <a:pt x="1092200" y="908050"/>
                  </a:lnTo>
                  <a:lnTo>
                    <a:pt x="1092200" y="908050"/>
                  </a:lnTo>
                  <a:lnTo>
                    <a:pt x="1022350" y="933450"/>
                  </a:lnTo>
                  <a:lnTo>
                    <a:pt x="990600" y="901700"/>
                  </a:lnTo>
                  <a:lnTo>
                    <a:pt x="977900" y="882650"/>
                  </a:lnTo>
                  <a:lnTo>
                    <a:pt x="927100" y="901700"/>
                  </a:lnTo>
                  <a:lnTo>
                    <a:pt x="876300" y="933450"/>
                  </a:lnTo>
                  <a:lnTo>
                    <a:pt x="838200" y="939800"/>
                  </a:lnTo>
                  <a:lnTo>
                    <a:pt x="774700" y="927100"/>
                  </a:lnTo>
                  <a:lnTo>
                    <a:pt x="666750" y="952500"/>
                  </a:lnTo>
                  <a:lnTo>
                    <a:pt x="596900" y="977900"/>
                  </a:lnTo>
                  <a:lnTo>
                    <a:pt x="508000" y="977900"/>
                  </a:lnTo>
                  <a:lnTo>
                    <a:pt x="374650" y="977900"/>
                  </a:lnTo>
                  <a:lnTo>
                    <a:pt x="279400" y="984250"/>
                  </a:lnTo>
                  <a:lnTo>
                    <a:pt x="196850" y="1022350"/>
                  </a:lnTo>
                  <a:lnTo>
                    <a:pt x="114300" y="1092200"/>
                  </a:lnTo>
                  <a:lnTo>
                    <a:pt x="127000" y="1168400"/>
                  </a:lnTo>
                  <a:lnTo>
                    <a:pt x="146050" y="1263650"/>
                  </a:lnTo>
                  <a:lnTo>
                    <a:pt x="184150" y="1358900"/>
                  </a:lnTo>
                  <a:lnTo>
                    <a:pt x="215900" y="1473200"/>
                  </a:lnTo>
                  <a:lnTo>
                    <a:pt x="158750" y="1543050"/>
                  </a:lnTo>
                  <a:lnTo>
                    <a:pt x="114300" y="1600200"/>
                  </a:lnTo>
                  <a:lnTo>
                    <a:pt x="50800" y="1631950"/>
                  </a:lnTo>
                  <a:lnTo>
                    <a:pt x="38100" y="1682750"/>
                  </a:lnTo>
                  <a:lnTo>
                    <a:pt x="95250" y="1746250"/>
                  </a:lnTo>
                  <a:lnTo>
                    <a:pt x="152400" y="1733550"/>
                  </a:lnTo>
                  <a:lnTo>
                    <a:pt x="152400" y="1733550"/>
                  </a:lnTo>
                  <a:lnTo>
                    <a:pt x="215900" y="1790700"/>
                  </a:lnTo>
                  <a:lnTo>
                    <a:pt x="260350" y="1771650"/>
                  </a:lnTo>
                  <a:lnTo>
                    <a:pt x="304800" y="1720850"/>
                  </a:lnTo>
                  <a:lnTo>
                    <a:pt x="342900" y="1720850"/>
                  </a:lnTo>
                  <a:lnTo>
                    <a:pt x="400050" y="1765300"/>
                  </a:lnTo>
                  <a:lnTo>
                    <a:pt x="438150" y="1816100"/>
                  </a:lnTo>
                  <a:lnTo>
                    <a:pt x="508000" y="1797050"/>
                  </a:lnTo>
                  <a:lnTo>
                    <a:pt x="558800" y="1739900"/>
                  </a:lnTo>
                  <a:lnTo>
                    <a:pt x="603250" y="1714500"/>
                  </a:lnTo>
                  <a:lnTo>
                    <a:pt x="647700" y="1752600"/>
                  </a:lnTo>
                  <a:lnTo>
                    <a:pt x="666750" y="1828800"/>
                  </a:lnTo>
                  <a:lnTo>
                    <a:pt x="660400" y="1949450"/>
                  </a:lnTo>
                  <a:lnTo>
                    <a:pt x="628650" y="2006600"/>
                  </a:lnTo>
                  <a:lnTo>
                    <a:pt x="673100" y="2076450"/>
                  </a:lnTo>
                  <a:lnTo>
                    <a:pt x="698500" y="2114550"/>
                  </a:lnTo>
                  <a:lnTo>
                    <a:pt x="685800" y="2190750"/>
                  </a:lnTo>
                  <a:lnTo>
                    <a:pt x="622300" y="2203450"/>
                  </a:lnTo>
                  <a:lnTo>
                    <a:pt x="565150" y="2152650"/>
                  </a:lnTo>
                  <a:lnTo>
                    <a:pt x="539750" y="2057400"/>
                  </a:lnTo>
                  <a:lnTo>
                    <a:pt x="482600" y="2051050"/>
                  </a:lnTo>
                  <a:lnTo>
                    <a:pt x="400050" y="2012950"/>
                  </a:lnTo>
                  <a:lnTo>
                    <a:pt x="330200" y="2025650"/>
                  </a:lnTo>
                  <a:lnTo>
                    <a:pt x="298450" y="2095500"/>
                  </a:lnTo>
                  <a:lnTo>
                    <a:pt x="273050" y="2133600"/>
                  </a:lnTo>
                  <a:lnTo>
                    <a:pt x="222250" y="2120900"/>
                  </a:lnTo>
                  <a:lnTo>
                    <a:pt x="190500" y="2038350"/>
                  </a:lnTo>
                  <a:lnTo>
                    <a:pt x="196850" y="1987550"/>
                  </a:lnTo>
                  <a:lnTo>
                    <a:pt x="190500" y="1917700"/>
                  </a:lnTo>
                  <a:lnTo>
                    <a:pt x="120650" y="1917700"/>
                  </a:lnTo>
                  <a:lnTo>
                    <a:pt x="44450" y="2006600"/>
                  </a:lnTo>
                  <a:lnTo>
                    <a:pt x="0" y="2070100"/>
                  </a:lnTo>
                  <a:lnTo>
                    <a:pt x="6350" y="2171700"/>
                  </a:lnTo>
                  <a:lnTo>
                    <a:pt x="69850" y="2241550"/>
                  </a:lnTo>
                  <a:lnTo>
                    <a:pt x="158750" y="2330450"/>
                  </a:lnTo>
                  <a:lnTo>
                    <a:pt x="241300" y="2393950"/>
                  </a:lnTo>
                  <a:lnTo>
                    <a:pt x="285750" y="2444750"/>
                  </a:lnTo>
                  <a:lnTo>
                    <a:pt x="393700" y="2546350"/>
                  </a:lnTo>
                  <a:lnTo>
                    <a:pt x="457200" y="2622550"/>
                  </a:lnTo>
                  <a:lnTo>
                    <a:pt x="457200" y="2622550"/>
                  </a:lnTo>
                  <a:lnTo>
                    <a:pt x="514350" y="2724150"/>
                  </a:lnTo>
                  <a:lnTo>
                    <a:pt x="527050" y="2825750"/>
                  </a:lnTo>
                  <a:lnTo>
                    <a:pt x="571500" y="2933700"/>
                  </a:lnTo>
                  <a:lnTo>
                    <a:pt x="615950" y="3009900"/>
                  </a:lnTo>
                  <a:lnTo>
                    <a:pt x="673100" y="3054350"/>
                  </a:lnTo>
                  <a:lnTo>
                    <a:pt x="723900" y="3117850"/>
                  </a:lnTo>
                  <a:lnTo>
                    <a:pt x="749300" y="3187700"/>
                  </a:lnTo>
                  <a:lnTo>
                    <a:pt x="812800" y="3232150"/>
                  </a:lnTo>
                  <a:lnTo>
                    <a:pt x="914400" y="3257550"/>
                  </a:lnTo>
                  <a:lnTo>
                    <a:pt x="990600" y="3302000"/>
                  </a:lnTo>
                  <a:lnTo>
                    <a:pt x="1028700" y="3352800"/>
                  </a:lnTo>
                  <a:lnTo>
                    <a:pt x="1079500" y="3416300"/>
                  </a:lnTo>
                  <a:lnTo>
                    <a:pt x="1143000" y="3416300"/>
                  </a:lnTo>
                  <a:lnTo>
                    <a:pt x="1225550" y="3409950"/>
                  </a:lnTo>
                  <a:lnTo>
                    <a:pt x="1346200" y="3454400"/>
                  </a:lnTo>
                  <a:lnTo>
                    <a:pt x="1435100" y="3530600"/>
                  </a:lnTo>
                  <a:lnTo>
                    <a:pt x="1485900" y="3625850"/>
                  </a:lnTo>
                  <a:lnTo>
                    <a:pt x="1536700" y="3644900"/>
                  </a:lnTo>
                  <a:lnTo>
                    <a:pt x="1600200" y="3619500"/>
                  </a:lnTo>
                  <a:lnTo>
                    <a:pt x="1682750" y="3530600"/>
                  </a:lnTo>
                  <a:lnTo>
                    <a:pt x="1758950" y="3479800"/>
                  </a:lnTo>
                  <a:lnTo>
                    <a:pt x="1828800" y="3486150"/>
                  </a:lnTo>
                  <a:lnTo>
                    <a:pt x="1905000" y="3530600"/>
                  </a:lnTo>
                  <a:lnTo>
                    <a:pt x="1905000" y="3530600"/>
                  </a:lnTo>
                  <a:lnTo>
                    <a:pt x="1905000" y="3530600"/>
                  </a:lnTo>
                  <a:lnTo>
                    <a:pt x="1898650" y="3594100"/>
                  </a:lnTo>
                  <a:lnTo>
                    <a:pt x="1860550" y="3632200"/>
                  </a:lnTo>
                  <a:lnTo>
                    <a:pt x="1847850" y="3676650"/>
                  </a:lnTo>
                  <a:lnTo>
                    <a:pt x="1866900" y="3746500"/>
                  </a:lnTo>
                  <a:lnTo>
                    <a:pt x="1873250" y="3765550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</p:grpSp>
      <p:pic>
        <p:nvPicPr>
          <p:cNvPr id="12" name="Marcador de contenido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13024" y="3271746"/>
            <a:ext cx="3265488" cy="217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6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/>
              <a:t>6</a:t>
            </a:r>
            <a:r>
              <a:rPr lang="en-US" dirty="0" smtClean="0"/>
              <a:t>. </a:t>
            </a:r>
            <a:r>
              <a:rPr lang="en-US" dirty="0"/>
              <a:t>Opportunities and Barri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472665"/>
            <a:ext cx="8712708" cy="1665172"/>
          </a:xfrm>
        </p:spPr>
        <p:txBody>
          <a:bodyPr numCol="2">
            <a:no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sz="2000" dirty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n-US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Opportunities: </a:t>
            </a:r>
            <a:br>
              <a:rPr kumimoji="1" lang="en-US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kumimoji="1" lang="en-US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	- Existing Diagnostics and Data      </a:t>
            </a:r>
            <a:br>
              <a:rPr kumimoji="1" lang="en-US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</a:br>
            <a:r>
              <a:rPr kumimoji="1" lang="en-US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	- Available funding resources 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s-PA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s-PA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n-US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Barriers:</a:t>
            </a:r>
          </a:p>
          <a:p>
            <a:pPr marL="1139825" lvl="4">
              <a:lnSpc>
                <a:spcPct val="100000"/>
              </a:lnSpc>
              <a:buNone/>
            </a:pP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-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iffering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olitical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nterests</a:t>
            </a:r>
            <a:endParaRPr kumimoji="1" lang="es-PA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1139825" lvl="4">
              <a:lnSpc>
                <a:spcPct val="100000"/>
              </a:lnSpc>
              <a:buNone/>
            </a:pP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- Silo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entality</a:t>
            </a:r>
            <a:endParaRPr kumimoji="1" lang="es-PA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1139825" lvl="4">
              <a:lnSpc>
                <a:spcPct val="100000"/>
              </a:lnSpc>
              <a:buNone/>
            </a:pP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-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High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echnical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olitical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fficials</a:t>
            </a:r>
            <a:r>
              <a:rPr kumimoji="1" lang="es-PA" altLang="ja-JP" sz="20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0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urnover</a:t>
            </a:r>
            <a:endParaRPr kumimoji="1" lang="en-US" altLang="ja-JP" sz="20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</a:pPr>
            <a:endParaRPr kumimoji="1" lang="en-US" altLang="ja-JP" sz="16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7" name="Imagen 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059112" y="5210700"/>
            <a:ext cx="2660650" cy="160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agen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899133"/>
            <a:ext cx="3059112" cy="211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33288" y="4986346"/>
            <a:ext cx="3410712" cy="188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Imagen 1" descr="23442836443_cc5e0701fd_o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1" y="3339120"/>
            <a:ext cx="2853066" cy="160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619317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7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/>
              <a:t>7</a:t>
            </a:r>
            <a:r>
              <a:rPr lang="en-US" dirty="0" smtClean="0"/>
              <a:t>. </a:t>
            </a:r>
            <a:r>
              <a:rPr lang="en-US" dirty="0"/>
              <a:t>Needs for </a:t>
            </a:r>
            <a:r>
              <a:rPr lang="en-US" dirty="0" err="1"/>
              <a:t>assitanc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712708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</a:pPr>
            <a:endParaRPr kumimoji="1" lang="en-US" altLang="ja-JP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ssesmen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non-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tructur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measure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,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articularl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urba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drainag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olic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regulation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echnical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ssistanc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orkshop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ranin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rganiz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ith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th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objectiv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of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implement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an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IUWM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ilo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roject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Expert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visit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knowledge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shar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and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platform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for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orking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bilaterally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with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 </a:t>
            </a:r>
            <a:r>
              <a:rPr kumimoji="1" lang="es-PA" altLang="ja-JP" sz="2400" dirty="0" err="1" smtClean="0">
                <a:solidFill>
                  <a:srgbClr val="00B0F0"/>
                </a:solidFill>
                <a:latin typeface="Calibri" panose="020F0502020204030204" pitchFamily="34" charset="0"/>
              </a:rPr>
              <a:t>countries</a:t>
            </a:r>
            <a:r>
              <a:rPr kumimoji="1" lang="es-PA" altLang="ja-JP" sz="2400" dirty="0" smtClean="0">
                <a:solidFill>
                  <a:srgbClr val="00B0F0"/>
                </a:solidFill>
                <a:latin typeface="Calibri" panose="020F0502020204030204" pitchFamily="34" charset="0"/>
              </a:rPr>
              <a:t>.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s-PA" altLang="ja-JP" sz="2400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s-PA" altLang="ja-JP" dirty="0" smtClean="0">
              <a:solidFill>
                <a:srgbClr val="00B0F0"/>
              </a:solidFill>
              <a:latin typeface="Calibri" panose="020F050202020403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7836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Imagen 4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08450" y="2603850"/>
            <a:ext cx="5035550" cy="343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Marcador de contenido"/>
          <p:cNvSpPr>
            <a:spLocks noGrp="1"/>
          </p:cNvSpPr>
          <p:nvPr>
            <p:ph sz="quarter" idx="10"/>
          </p:nvPr>
        </p:nvSpPr>
        <p:spPr>
          <a:xfrm>
            <a:off x="343401" y="1337912"/>
            <a:ext cx="8440305" cy="4723451"/>
          </a:xfrm>
        </p:spPr>
        <p:txBody>
          <a:bodyPr/>
          <a:lstStyle/>
          <a:p>
            <a:r>
              <a:rPr lang="es-PA" dirty="0" err="1" smtClean="0"/>
              <a:t>Panama</a:t>
            </a:r>
            <a:r>
              <a:rPr lang="es-PA" dirty="0" smtClean="0"/>
              <a:t> </a:t>
            </a:r>
            <a:r>
              <a:rPr lang="es-PA" dirty="0" err="1" smtClean="0"/>
              <a:t>Sanitation</a:t>
            </a:r>
            <a:r>
              <a:rPr lang="es-PA" dirty="0" smtClean="0"/>
              <a:t> </a:t>
            </a:r>
            <a:r>
              <a:rPr lang="es-PA" dirty="0" err="1" smtClean="0"/>
              <a:t>Program</a:t>
            </a:r>
            <a:r>
              <a:rPr lang="es-PA" dirty="0" smtClean="0"/>
              <a:t> can </a:t>
            </a:r>
            <a:r>
              <a:rPr lang="es-PA" dirty="0" err="1" smtClean="0"/>
              <a:t>be</a:t>
            </a:r>
            <a:r>
              <a:rPr lang="es-PA" dirty="0" smtClean="0"/>
              <a:t> a </a:t>
            </a:r>
            <a:r>
              <a:rPr lang="es-PA" dirty="0" err="1" smtClean="0"/>
              <a:t>model</a:t>
            </a:r>
            <a:r>
              <a:rPr lang="es-PA" dirty="0" smtClean="0"/>
              <a:t> </a:t>
            </a:r>
            <a:r>
              <a:rPr lang="es-PA" dirty="0" err="1" smtClean="0"/>
              <a:t>for</a:t>
            </a:r>
            <a:r>
              <a:rPr lang="es-PA" dirty="0" smtClean="0"/>
              <a:t> </a:t>
            </a:r>
            <a:r>
              <a:rPr lang="es-PA" dirty="0" err="1" smtClean="0"/>
              <a:t>other</a:t>
            </a:r>
            <a:r>
              <a:rPr lang="es-PA" dirty="0" smtClean="0"/>
              <a:t> central </a:t>
            </a:r>
            <a:r>
              <a:rPr lang="es-PA" dirty="0" err="1" smtClean="0"/>
              <a:t>american</a:t>
            </a:r>
            <a:r>
              <a:rPr lang="es-PA" dirty="0" smtClean="0"/>
              <a:t> </a:t>
            </a:r>
            <a:r>
              <a:rPr lang="es-PA" dirty="0" err="1" smtClean="0"/>
              <a:t>countries</a:t>
            </a:r>
            <a:r>
              <a:rPr lang="es-PA" dirty="0" smtClean="0"/>
              <a:t> at </a:t>
            </a:r>
            <a:r>
              <a:rPr lang="es-PA" dirty="0" err="1" smtClean="0"/>
              <a:t>the</a:t>
            </a:r>
            <a:r>
              <a:rPr lang="es-PA" dirty="0" smtClean="0"/>
              <a:t> </a:t>
            </a:r>
            <a:r>
              <a:rPr lang="es-PA" dirty="0" err="1" smtClean="0"/>
              <a:t>starting</a:t>
            </a:r>
            <a:r>
              <a:rPr lang="es-PA" dirty="0" smtClean="0"/>
              <a:t> </a:t>
            </a:r>
            <a:r>
              <a:rPr lang="es-PA" dirty="0" err="1" smtClean="0"/>
              <a:t>stage</a:t>
            </a:r>
            <a:r>
              <a:rPr lang="es-PA" dirty="0" smtClean="0"/>
              <a:t> of </a:t>
            </a:r>
            <a:r>
              <a:rPr lang="es-PA" dirty="0" err="1" smtClean="0"/>
              <a:t>developing</a:t>
            </a:r>
            <a:r>
              <a:rPr lang="es-PA" dirty="0" smtClean="0"/>
              <a:t> a </a:t>
            </a:r>
            <a:r>
              <a:rPr lang="es-PA" dirty="0" err="1" smtClean="0"/>
              <a:t>sanitation</a:t>
            </a:r>
            <a:r>
              <a:rPr lang="es-PA" dirty="0" smtClean="0"/>
              <a:t> </a:t>
            </a:r>
            <a:r>
              <a:rPr lang="es-PA" dirty="0" err="1" smtClean="0"/>
              <a:t>program</a:t>
            </a:r>
            <a:r>
              <a:rPr lang="es-PA" dirty="0" smtClean="0"/>
              <a:t> </a:t>
            </a:r>
            <a:r>
              <a:rPr lang="es-PA" dirty="0" err="1" smtClean="0"/>
              <a:t>for</a:t>
            </a:r>
            <a:r>
              <a:rPr lang="es-PA" dirty="0" smtClean="0"/>
              <a:t> </a:t>
            </a:r>
            <a:r>
              <a:rPr lang="es-PA" dirty="0" err="1" smtClean="0"/>
              <a:t>their</a:t>
            </a:r>
            <a:r>
              <a:rPr lang="es-PA" dirty="0" smtClean="0"/>
              <a:t> </a:t>
            </a:r>
            <a:r>
              <a:rPr lang="es-PA" dirty="0" err="1" smtClean="0"/>
              <a:t>cities</a:t>
            </a:r>
            <a:r>
              <a:rPr lang="es-PA" dirty="0" smtClean="0"/>
              <a:t>.</a:t>
            </a:r>
          </a:p>
          <a:p>
            <a:endParaRPr lang="en-US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A" dirty="0" err="1" smtClean="0"/>
              <a:t>Panama</a:t>
            </a:r>
            <a:r>
              <a:rPr lang="es-PA" dirty="0" smtClean="0"/>
              <a:t> </a:t>
            </a:r>
            <a:r>
              <a:rPr lang="es-PA" dirty="0" err="1" smtClean="0"/>
              <a:t>Sanitation</a:t>
            </a:r>
            <a:r>
              <a:rPr lang="es-PA" dirty="0" smtClean="0"/>
              <a:t> </a:t>
            </a:r>
            <a:r>
              <a:rPr lang="es-PA" dirty="0" err="1" smtClean="0"/>
              <a:t>Experience</a:t>
            </a:r>
            <a:endParaRPr lang="en-US" dirty="0"/>
          </a:p>
        </p:txBody>
      </p:sp>
      <p:pic>
        <p:nvPicPr>
          <p:cNvPr id="5" name="Picture 3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42700" y="3265038"/>
            <a:ext cx="498475" cy="47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52225" y="3260275"/>
            <a:ext cx="4953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8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11075" y="3268213"/>
            <a:ext cx="48736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7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93613" y="3268213"/>
            <a:ext cx="4984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9575" y="3268213"/>
            <a:ext cx="498475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2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7038" y="3268213"/>
            <a:ext cx="4873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9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8438" y="2349050"/>
            <a:ext cx="2819400" cy="1103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61613" y="2118863"/>
            <a:ext cx="2817812" cy="110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5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61613" y="3219000"/>
            <a:ext cx="2817812" cy="23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5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87288" y="3680963"/>
            <a:ext cx="93662" cy="58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6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53838" y="3680963"/>
            <a:ext cx="9525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7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82300" y="3682550"/>
            <a:ext cx="95250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Donut 28"/>
          <p:cNvSpPr/>
          <p:nvPr/>
        </p:nvSpPr>
        <p:spPr>
          <a:xfrm>
            <a:off x="506075" y="4290563"/>
            <a:ext cx="639763" cy="639762"/>
          </a:xfrm>
          <a:prstGeom prst="donut">
            <a:avLst>
              <a:gd name="adj" fmla="val 14719"/>
            </a:avLst>
          </a:prstGeom>
          <a:solidFill>
            <a:srgbClr val="142C39"/>
          </a:solidFill>
          <a:ln>
            <a:noFill/>
          </a:ln>
          <a:effectLst>
            <a:outerShdw dist="50800" dir="4680000" sx="1000" sy="1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Donut 30"/>
          <p:cNvSpPr/>
          <p:nvPr/>
        </p:nvSpPr>
        <p:spPr>
          <a:xfrm>
            <a:off x="1372850" y="4290563"/>
            <a:ext cx="639763" cy="639762"/>
          </a:xfrm>
          <a:prstGeom prst="donut">
            <a:avLst>
              <a:gd name="adj" fmla="val 13479"/>
            </a:avLst>
          </a:prstGeom>
          <a:solidFill>
            <a:srgbClr val="142C39"/>
          </a:solidFill>
          <a:ln>
            <a:noFill/>
          </a:ln>
          <a:effectLst>
            <a:outerShdw dist="50800" dir="4680000" sx="1000" sy="1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Donut 31"/>
          <p:cNvSpPr/>
          <p:nvPr/>
        </p:nvSpPr>
        <p:spPr>
          <a:xfrm>
            <a:off x="2299950" y="4288975"/>
            <a:ext cx="639763" cy="639763"/>
          </a:xfrm>
          <a:prstGeom prst="donut">
            <a:avLst>
              <a:gd name="adj" fmla="val 13503"/>
            </a:avLst>
          </a:prstGeom>
          <a:solidFill>
            <a:srgbClr val="142C39"/>
          </a:solidFill>
          <a:ln>
            <a:noFill/>
          </a:ln>
          <a:effectLst>
            <a:outerShdw dist="50800" dir="4680000" sx="1000" sy="1000" algn="ctr" rotWithShape="0">
              <a:srgbClr val="002060">
                <a:alpha val="4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20" name="Picture 40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612563" y="4943025"/>
            <a:ext cx="171450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2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44200" y="4943025"/>
            <a:ext cx="169863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43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49188" y="4943025"/>
            <a:ext cx="169862" cy="47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Donut 46"/>
          <p:cNvSpPr/>
          <p:nvPr/>
        </p:nvSpPr>
        <p:spPr>
          <a:xfrm>
            <a:off x="471150" y="5438325"/>
            <a:ext cx="709613" cy="708025"/>
          </a:xfrm>
          <a:prstGeom prst="donut">
            <a:avLst>
              <a:gd name="adj" fmla="val 11280"/>
            </a:avLst>
          </a:prstGeom>
          <a:solidFill>
            <a:srgbClr val="0E1B9F"/>
          </a:solidFill>
          <a:ln>
            <a:noFill/>
          </a:ln>
          <a:effectLst>
            <a:outerShdw dist="50800" dir="4680000" sx="1000" sy="1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Donut 47"/>
          <p:cNvSpPr/>
          <p:nvPr/>
        </p:nvSpPr>
        <p:spPr>
          <a:xfrm>
            <a:off x="1350625" y="5438325"/>
            <a:ext cx="708025" cy="708025"/>
          </a:xfrm>
          <a:prstGeom prst="donut">
            <a:avLst>
              <a:gd name="adj" fmla="val 12027"/>
            </a:avLst>
          </a:prstGeom>
          <a:solidFill>
            <a:srgbClr val="0E1B9F"/>
          </a:solidFill>
          <a:ln>
            <a:noFill/>
          </a:ln>
          <a:effectLst>
            <a:outerShdw dist="50800" dir="4680000" sx="1000" sy="1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Donut 48"/>
          <p:cNvSpPr/>
          <p:nvPr/>
        </p:nvSpPr>
        <p:spPr>
          <a:xfrm>
            <a:off x="2279313" y="5438325"/>
            <a:ext cx="709612" cy="709613"/>
          </a:xfrm>
          <a:prstGeom prst="donut">
            <a:avLst>
              <a:gd name="adj" fmla="val 11866"/>
            </a:avLst>
          </a:prstGeom>
          <a:solidFill>
            <a:srgbClr val="0E1B9F"/>
          </a:solidFill>
          <a:ln>
            <a:noFill/>
          </a:ln>
          <a:effectLst>
            <a:outerShdw dist="50800" dir="4680000" sx="1000" sy="1000" algn="ctr" rotWithShape="0">
              <a:srgbClr val="000000">
                <a:alpha val="43137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tx1"/>
              </a:solidFill>
            </a:endParaRPr>
          </a:p>
        </p:txBody>
      </p:sp>
      <p:pic>
        <p:nvPicPr>
          <p:cNvPr id="26" name="Picture 52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44200" y="6146350"/>
            <a:ext cx="1039813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53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30025" y="6146350"/>
            <a:ext cx="10001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54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639550" y="6146350"/>
            <a:ext cx="1079500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TextBox 58"/>
          <p:cNvSpPr txBox="1">
            <a:spLocks noChangeArrowheads="1"/>
          </p:cNvSpPr>
          <p:nvPr/>
        </p:nvSpPr>
        <p:spPr bwMode="auto">
          <a:xfrm>
            <a:off x="979150" y="4927150"/>
            <a:ext cx="3937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es-MX" sz="3200">
                <a:solidFill>
                  <a:srgbClr val="0E1B9F"/>
                </a:solidFill>
                <a:latin typeface="Impact" pitchFamily="34" charset="0"/>
                <a:ea typeface="Impact" pitchFamily="34" charset="0"/>
                <a:cs typeface="Impact" pitchFamily="34" charset="0"/>
              </a:rPr>
              <a:t>2</a:t>
            </a:r>
          </a:p>
        </p:txBody>
      </p:sp>
      <p:grpSp>
        <p:nvGrpSpPr>
          <p:cNvPr id="30" name="Group 16"/>
          <p:cNvGrpSpPr>
            <a:grpSpLocks/>
          </p:cNvGrpSpPr>
          <p:nvPr/>
        </p:nvGrpSpPr>
        <p:grpSpPr bwMode="auto">
          <a:xfrm>
            <a:off x="606088" y="4330250"/>
            <a:ext cx="660400" cy="590550"/>
            <a:chOff x="1097524" y="3762465"/>
            <a:chExt cx="659109" cy="589897"/>
          </a:xfrm>
        </p:grpSpPr>
        <p:sp>
          <p:nvSpPr>
            <p:cNvPr id="31" name="TextBox 14"/>
            <p:cNvSpPr txBox="1"/>
            <p:nvPr/>
          </p:nvSpPr>
          <p:spPr>
            <a:xfrm>
              <a:off x="1097524" y="3762465"/>
              <a:ext cx="567214" cy="46145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 dirty="0">
                  <a:latin typeface="+mn-lt"/>
                </a:rPr>
                <a:t>LLI</a:t>
              </a:r>
            </a:p>
          </p:txBody>
        </p:sp>
        <p:sp>
          <p:nvSpPr>
            <p:cNvPr id="32" name="TextBox 67"/>
            <p:cNvSpPr txBox="1"/>
            <p:nvPr/>
          </p:nvSpPr>
          <p:spPr>
            <a:xfrm>
              <a:off x="1189419" y="3890911"/>
              <a:ext cx="567214" cy="46145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>
                  <a:latin typeface="+mn-lt"/>
                </a:rPr>
                <a:t>I</a:t>
              </a:r>
              <a:endParaRPr lang="en-US" sz="2400" spc="-300" dirty="0">
                <a:latin typeface="+mn-lt"/>
              </a:endParaRPr>
            </a:p>
          </p:txBody>
        </p:sp>
      </p:grpSp>
      <p:grpSp>
        <p:nvGrpSpPr>
          <p:cNvPr id="33" name="Group 16"/>
          <p:cNvGrpSpPr>
            <a:grpSpLocks/>
          </p:cNvGrpSpPr>
          <p:nvPr/>
        </p:nvGrpSpPr>
        <p:grpSpPr bwMode="auto">
          <a:xfrm>
            <a:off x="1471275" y="4327075"/>
            <a:ext cx="660400" cy="588963"/>
            <a:chOff x="1097524" y="3762465"/>
            <a:chExt cx="659109" cy="589897"/>
          </a:xfrm>
        </p:grpSpPr>
        <p:sp>
          <p:nvSpPr>
            <p:cNvPr id="34" name="TextBox 14"/>
            <p:cNvSpPr txBox="1"/>
            <p:nvPr/>
          </p:nvSpPr>
          <p:spPr>
            <a:xfrm>
              <a:off x="1097524" y="3762465"/>
              <a:ext cx="567214" cy="4611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 dirty="0">
                  <a:latin typeface="+mn-lt"/>
                </a:rPr>
                <a:t>LLI</a:t>
              </a:r>
            </a:p>
          </p:txBody>
        </p:sp>
        <p:sp>
          <p:nvSpPr>
            <p:cNvPr id="35" name="TextBox 67"/>
            <p:cNvSpPr txBox="1"/>
            <p:nvPr/>
          </p:nvSpPr>
          <p:spPr>
            <a:xfrm>
              <a:off x="1189419" y="3891257"/>
              <a:ext cx="567214" cy="4611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>
                  <a:latin typeface="+mn-lt"/>
                </a:rPr>
                <a:t>I</a:t>
              </a:r>
              <a:endParaRPr lang="en-US" sz="2400" spc="-300" dirty="0">
                <a:latin typeface="+mn-lt"/>
              </a:endParaRPr>
            </a:p>
          </p:txBody>
        </p:sp>
      </p:grpSp>
      <p:grpSp>
        <p:nvGrpSpPr>
          <p:cNvPr id="36" name="Group 16"/>
          <p:cNvGrpSpPr>
            <a:grpSpLocks/>
          </p:cNvGrpSpPr>
          <p:nvPr/>
        </p:nvGrpSpPr>
        <p:grpSpPr bwMode="auto">
          <a:xfrm>
            <a:off x="2404725" y="4327075"/>
            <a:ext cx="658813" cy="588963"/>
            <a:chOff x="1097524" y="3762465"/>
            <a:chExt cx="659109" cy="589897"/>
          </a:xfrm>
        </p:grpSpPr>
        <p:sp>
          <p:nvSpPr>
            <p:cNvPr id="37" name="TextBox 14"/>
            <p:cNvSpPr txBox="1"/>
            <p:nvPr/>
          </p:nvSpPr>
          <p:spPr>
            <a:xfrm>
              <a:off x="1097524" y="3762465"/>
              <a:ext cx="566993" cy="4611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 dirty="0">
                  <a:latin typeface="+mn-lt"/>
                </a:rPr>
                <a:t>LLI</a:t>
              </a:r>
            </a:p>
          </p:txBody>
        </p:sp>
        <p:sp>
          <p:nvSpPr>
            <p:cNvPr id="38" name="TextBox 67"/>
            <p:cNvSpPr txBox="1"/>
            <p:nvPr/>
          </p:nvSpPr>
          <p:spPr>
            <a:xfrm>
              <a:off x="1189640" y="3891257"/>
              <a:ext cx="566993" cy="46110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spc="-300" dirty="0">
                  <a:latin typeface="+mn-lt"/>
                </a:rPr>
                <a:t>I</a:t>
              </a:r>
            </a:p>
          </p:txBody>
        </p:sp>
      </p:grpSp>
      <p:sp>
        <p:nvSpPr>
          <p:cNvPr id="39" name="TextBox 56"/>
          <p:cNvSpPr txBox="1">
            <a:spLocks noChangeArrowheads="1"/>
          </p:cNvSpPr>
          <p:nvPr/>
        </p:nvSpPr>
        <p:spPr bwMode="auto">
          <a:xfrm>
            <a:off x="1101388" y="3796850"/>
            <a:ext cx="341312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es-MX" sz="3200">
                <a:solidFill>
                  <a:srgbClr val="142C39"/>
                </a:solidFill>
                <a:latin typeface="Impact" pitchFamily="34" charset="0"/>
                <a:ea typeface="Impact" pitchFamily="34" charset="0"/>
                <a:cs typeface="Impact" pitchFamily="34" charset="0"/>
              </a:rPr>
              <a:t>1</a:t>
            </a:r>
          </a:p>
        </p:txBody>
      </p:sp>
      <p:sp>
        <p:nvSpPr>
          <p:cNvPr id="40" name="TextBox 56"/>
          <p:cNvSpPr txBox="1">
            <a:spLocks noChangeArrowheads="1"/>
          </p:cNvSpPr>
          <p:nvPr/>
        </p:nvSpPr>
        <p:spPr bwMode="auto">
          <a:xfrm>
            <a:off x="2012613" y="3796850"/>
            <a:ext cx="341312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es-MX" sz="3200">
                <a:solidFill>
                  <a:srgbClr val="142C39"/>
                </a:solidFill>
                <a:latin typeface="Impact" pitchFamily="34" charset="0"/>
                <a:ea typeface="Impact" pitchFamily="34" charset="0"/>
                <a:cs typeface="Impact" pitchFamily="34" charset="0"/>
              </a:rPr>
              <a:t>1</a:t>
            </a:r>
          </a:p>
        </p:txBody>
      </p:sp>
      <p:sp>
        <p:nvSpPr>
          <p:cNvPr id="41" name="TextBox 58"/>
          <p:cNvSpPr txBox="1">
            <a:spLocks noChangeArrowheads="1"/>
          </p:cNvSpPr>
          <p:nvPr/>
        </p:nvSpPr>
        <p:spPr bwMode="auto">
          <a:xfrm>
            <a:off x="2023725" y="4925563"/>
            <a:ext cx="39211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en-US" altLang="es-MX" sz="3200">
                <a:solidFill>
                  <a:srgbClr val="0E1B9F"/>
                </a:solidFill>
                <a:latin typeface="Impact" pitchFamily="34" charset="0"/>
                <a:ea typeface="Impact" pitchFamily="34" charset="0"/>
                <a:cs typeface="Impact" pitchFamily="34" charset="0"/>
              </a:rPr>
              <a:t>2</a:t>
            </a:r>
          </a:p>
        </p:txBody>
      </p:sp>
      <p:grpSp>
        <p:nvGrpSpPr>
          <p:cNvPr id="42" name="Group 83"/>
          <p:cNvGrpSpPr>
            <a:grpSpLocks/>
          </p:cNvGrpSpPr>
          <p:nvPr/>
        </p:nvGrpSpPr>
        <p:grpSpPr bwMode="auto">
          <a:xfrm>
            <a:off x="1466513" y="5636763"/>
            <a:ext cx="479425" cy="263525"/>
            <a:chOff x="2892363" y="5036783"/>
            <a:chExt cx="422796" cy="324027"/>
          </a:xfrm>
        </p:grpSpPr>
        <p:pic>
          <p:nvPicPr>
            <p:cNvPr id="43" name="Picture 84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998762" y="5036783"/>
              <a:ext cx="316397" cy="322074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4" name="Picture 85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 flipH="1">
              <a:off x="2892363" y="5038734"/>
              <a:ext cx="317797" cy="322076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5" name="Group 83"/>
          <p:cNvGrpSpPr>
            <a:grpSpLocks/>
          </p:cNvGrpSpPr>
          <p:nvPr/>
        </p:nvGrpSpPr>
        <p:grpSpPr bwMode="auto">
          <a:xfrm>
            <a:off x="2395200" y="5633588"/>
            <a:ext cx="481013" cy="263525"/>
            <a:chOff x="2892363" y="5036783"/>
            <a:chExt cx="422796" cy="324027"/>
          </a:xfrm>
        </p:grpSpPr>
        <p:pic>
          <p:nvPicPr>
            <p:cNvPr id="46" name="Picture 84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999807" y="5036783"/>
              <a:ext cx="315352" cy="322074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7" name="Picture 85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 flipH="1">
              <a:off x="2892363" y="5038734"/>
              <a:ext cx="318143" cy="322076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8" name="Group 83"/>
          <p:cNvGrpSpPr>
            <a:grpSpLocks/>
          </p:cNvGrpSpPr>
          <p:nvPr/>
        </p:nvGrpSpPr>
        <p:grpSpPr bwMode="auto">
          <a:xfrm>
            <a:off x="593388" y="5598663"/>
            <a:ext cx="481012" cy="263525"/>
            <a:chOff x="2892363" y="5036783"/>
            <a:chExt cx="422796" cy="324027"/>
          </a:xfrm>
        </p:grpSpPr>
        <p:pic>
          <p:nvPicPr>
            <p:cNvPr id="49" name="Picture 84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999806" y="5036783"/>
              <a:ext cx="315353" cy="322074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Picture 85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 flipH="1">
              <a:off x="2892363" y="5038734"/>
              <a:ext cx="318144" cy="322076"/>
            </a:xfrm>
            <a:prstGeom prst="rect">
              <a:avLst/>
            </a:prstGeom>
            <a:effectLst>
              <a:outerShdw blurRad="50800" dist="76200" dir="8100000" sx="82000" sy="82000" algn="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1" name="Group 64"/>
          <p:cNvGrpSpPr>
            <a:grpSpLocks/>
          </p:cNvGrpSpPr>
          <p:nvPr/>
        </p:nvGrpSpPr>
        <p:grpSpPr bwMode="auto">
          <a:xfrm>
            <a:off x="2519025" y="5746300"/>
            <a:ext cx="215900" cy="84138"/>
            <a:chOff x="3017144" y="5185496"/>
            <a:chExt cx="216403" cy="83404"/>
          </a:xfrm>
        </p:grpSpPr>
        <p:pic>
          <p:nvPicPr>
            <p:cNvPr id="52" name="Picture 65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17144" y="5185496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" name="Picture 79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21906" y="5223181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4" name="Group 80"/>
          <p:cNvGrpSpPr>
            <a:grpSpLocks/>
          </p:cNvGrpSpPr>
          <p:nvPr/>
        </p:nvGrpSpPr>
        <p:grpSpPr bwMode="auto">
          <a:xfrm>
            <a:off x="1603038" y="5741538"/>
            <a:ext cx="217487" cy="84137"/>
            <a:chOff x="3017144" y="5185496"/>
            <a:chExt cx="216403" cy="83404"/>
          </a:xfrm>
        </p:grpSpPr>
        <p:pic>
          <p:nvPicPr>
            <p:cNvPr id="55" name="Picture 81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17144" y="5185496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" name="Picture 92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21906" y="5223181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7" name="Group 93"/>
          <p:cNvGrpSpPr>
            <a:grpSpLocks/>
          </p:cNvGrpSpPr>
          <p:nvPr/>
        </p:nvGrpSpPr>
        <p:grpSpPr bwMode="auto">
          <a:xfrm>
            <a:off x="721975" y="5717725"/>
            <a:ext cx="215900" cy="84138"/>
            <a:chOff x="3017144" y="5185496"/>
            <a:chExt cx="216403" cy="83404"/>
          </a:xfrm>
        </p:grpSpPr>
        <p:pic>
          <p:nvPicPr>
            <p:cNvPr id="58" name="Picture 94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17144" y="5185496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95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021906" y="5223181"/>
              <a:ext cx="211641" cy="45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0" name="Group 21"/>
          <p:cNvGrpSpPr>
            <a:grpSpLocks/>
          </p:cNvGrpSpPr>
          <p:nvPr/>
        </p:nvGrpSpPr>
        <p:grpSpPr bwMode="auto">
          <a:xfrm>
            <a:off x="3268280" y="2569395"/>
            <a:ext cx="3129280" cy="3890010"/>
            <a:chOff x="147569" y="1299148"/>
            <a:chExt cx="3911497" cy="4861384"/>
          </a:xfrm>
        </p:grpSpPr>
        <p:pic>
          <p:nvPicPr>
            <p:cNvPr id="61" name="Picture 26"/>
            <p:cNvPicPr>
              <a:picLocks noChangeAspect="1"/>
            </p:cNvPicPr>
            <p:nvPr/>
          </p:nvPicPr>
          <p:blipFill>
            <a:blip r:embed="rId18"/>
            <a:srcRect/>
            <a:stretch>
              <a:fillRect/>
            </a:stretch>
          </p:blipFill>
          <p:spPr bwMode="auto">
            <a:xfrm>
              <a:off x="970529" y="4072128"/>
              <a:ext cx="294854" cy="2088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" name="Picture 22"/>
            <p:cNvPicPr>
              <a:picLocks noChangeAspect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 rot="-5400000">
              <a:off x="1107139" y="1860174"/>
              <a:ext cx="298469" cy="822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3" name="Oval 23"/>
            <p:cNvSpPr/>
            <p:nvPr/>
          </p:nvSpPr>
          <p:spPr>
            <a:xfrm>
              <a:off x="801598" y="6077320"/>
              <a:ext cx="617896" cy="82385"/>
            </a:xfrm>
            <a:prstGeom prst="ellipse">
              <a:avLst/>
            </a:prstGeom>
            <a:solidFill>
              <a:schemeClr val="tx1"/>
            </a:solidFill>
            <a:effectLst>
              <a:outerShdw blurRad="152400" dist="25400" dir="5400000" sx="170000" sy="170000" rotWithShape="0">
                <a:prstClr val="black">
                  <a:alpha val="10000"/>
                </a:prstClr>
              </a:outerShdw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grpSp>
          <p:nvGrpSpPr>
            <p:cNvPr id="64" name="Group 24"/>
            <p:cNvGrpSpPr>
              <a:grpSpLocks/>
            </p:cNvGrpSpPr>
            <p:nvPr/>
          </p:nvGrpSpPr>
          <p:grpSpPr bwMode="auto">
            <a:xfrm>
              <a:off x="147569" y="1335007"/>
              <a:ext cx="3911496" cy="4427151"/>
              <a:chOff x="87472" y="1503223"/>
              <a:chExt cx="5427595" cy="6143124"/>
            </a:xfrm>
          </p:grpSpPr>
          <p:pic>
            <p:nvPicPr>
              <p:cNvPr id="78" name="Picture 41"/>
              <p:cNvPicPr>
                <a:picLocks noChangeAspect="1"/>
              </p:cNvPicPr>
              <p:nvPr/>
            </p:nvPicPr>
            <p:blipFill>
              <a:blip r:embed="rId18"/>
              <a:srcRect/>
              <a:stretch>
                <a:fillRect/>
              </a:stretch>
            </p:blipFill>
            <p:spPr bwMode="auto">
              <a:xfrm rot="5400000">
                <a:off x="3549530" y="1861571"/>
                <a:ext cx="451706" cy="18890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79" name="Oval 42"/>
              <p:cNvSpPr/>
              <p:nvPr/>
            </p:nvSpPr>
            <p:spPr>
              <a:xfrm>
                <a:off x="4657674" y="1503223"/>
                <a:ext cx="857393" cy="114317"/>
              </a:xfrm>
              <a:prstGeom prst="ellipse">
                <a:avLst/>
              </a:prstGeom>
              <a:solidFill>
                <a:schemeClr val="tx1"/>
              </a:solidFill>
              <a:effectLst>
                <a:softEdge rad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/>
              </a:p>
            </p:txBody>
          </p:sp>
          <p:pic>
            <p:nvPicPr>
              <p:cNvPr id="80" name="Picture 43"/>
              <p:cNvPicPr>
                <a:picLocks noChangeAspect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4844168" y="1513214"/>
                <a:ext cx="508818" cy="1026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81" name="Donut 44"/>
              <p:cNvSpPr/>
              <p:nvPr/>
            </p:nvSpPr>
            <p:spPr>
              <a:xfrm>
                <a:off x="367222" y="5534337"/>
                <a:ext cx="2112445" cy="2112010"/>
              </a:xfrm>
              <a:prstGeom prst="donut">
                <a:avLst>
                  <a:gd name="adj" fmla="val 14128"/>
                </a:avLst>
              </a:prstGeom>
              <a:solidFill>
                <a:srgbClr val="00A1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82" name="Picture 45"/>
              <p:cNvPicPr>
                <a:picLocks noChangeAspect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 flipV="1">
                <a:off x="4630780" y="2336697"/>
                <a:ext cx="729916" cy="7116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3" name="Picture 46"/>
              <p:cNvPicPr>
                <a:picLocks noChangeAspect="1"/>
              </p:cNvPicPr>
              <p:nvPr/>
            </p:nvPicPr>
            <p:blipFill>
              <a:blip r:embed="rId18"/>
              <a:srcRect/>
              <a:stretch>
                <a:fillRect/>
              </a:stretch>
            </p:blipFill>
            <p:spPr bwMode="auto">
              <a:xfrm>
                <a:off x="391682" y="3233323"/>
                <a:ext cx="486948" cy="1321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4" name="Picture 47"/>
              <p:cNvPicPr>
                <a:picLocks noChangeAspect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 rot="10800000" flipV="1">
                <a:off x="371360" y="2622838"/>
                <a:ext cx="729917" cy="7116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5" name="Picture 48"/>
              <p:cNvPicPr>
                <a:picLocks noChangeAspect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 rot="5400000" flipV="1">
                <a:off x="390526" y="4382488"/>
                <a:ext cx="729916" cy="7116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86" name="TextBox 51"/>
              <p:cNvSpPr txBox="1">
                <a:spLocks noChangeArrowheads="1"/>
              </p:cNvSpPr>
              <p:nvPr/>
            </p:nvSpPr>
            <p:spPr bwMode="auto">
              <a:xfrm>
                <a:off x="87472" y="5084887"/>
                <a:ext cx="538701" cy="9822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1" hangingPunct="1"/>
                <a:r>
                  <a:rPr lang="en-US" altLang="es-MX" sz="4000">
                    <a:solidFill>
                      <a:srgbClr val="00A1B8"/>
                    </a:solidFill>
                    <a:latin typeface="Impact" pitchFamily="34" charset="0"/>
                    <a:ea typeface="Impact" pitchFamily="34" charset="0"/>
                    <a:cs typeface="Impact" pitchFamily="34" charset="0"/>
                  </a:rPr>
                  <a:t>3</a:t>
                </a:r>
              </a:p>
            </p:txBody>
          </p:sp>
        </p:grpSp>
        <p:pic>
          <p:nvPicPr>
            <p:cNvPr id="65" name="Picture 25"/>
            <p:cNvPicPr>
              <a:picLocks noChangeAspect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 rot="10800000" flipH="1" flipV="1">
              <a:off x="822169" y="3554109"/>
              <a:ext cx="456214" cy="570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6" name="Picture 27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 rot="5400000">
              <a:off x="723108" y="4829682"/>
              <a:ext cx="830069" cy="387340"/>
            </a:xfrm>
            <a:prstGeom prst="rect">
              <a:avLst/>
            </a:prstGeom>
            <a:effectLst>
              <a:outerShdw blurRad="50800" dist="76200" dir="8100000" sx="91000" sy="91000" algn="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67" name="Group 28"/>
            <p:cNvGrpSpPr>
              <a:grpSpLocks/>
            </p:cNvGrpSpPr>
            <p:nvPr/>
          </p:nvGrpSpPr>
          <p:grpSpPr bwMode="auto">
            <a:xfrm rot="5400000">
              <a:off x="879354" y="4902730"/>
              <a:ext cx="537281" cy="214328"/>
              <a:chOff x="1799401" y="2232454"/>
              <a:chExt cx="581816" cy="214328"/>
            </a:xfrm>
          </p:grpSpPr>
          <p:pic>
            <p:nvPicPr>
              <p:cNvPr id="76" name="Picture 39"/>
              <p:cNvPicPr>
                <a:picLocks noChangeAspect="1"/>
              </p:cNvPicPr>
              <p:nvPr/>
            </p:nvPicPr>
            <p:blipFill>
              <a:blip r:embed="rId23"/>
              <a:srcRect/>
              <a:stretch>
                <a:fillRect/>
              </a:stretch>
            </p:blipFill>
            <p:spPr bwMode="auto">
              <a:xfrm>
                <a:off x="1799401" y="2232454"/>
                <a:ext cx="561224" cy="1195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7" name="Picture 40"/>
              <p:cNvPicPr>
                <a:picLocks noChangeAspect="1"/>
              </p:cNvPicPr>
              <p:nvPr/>
            </p:nvPicPr>
            <p:blipFill>
              <a:blip r:embed="rId23"/>
              <a:srcRect/>
              <a:stretch>
                <a:fillRect/>
              </a:stretch>
            </p:blipFill>
            <p:spPr bwMode="auto">
              <a:xfrm>
                <a:off x="1819993" y="2327188"/>
                <a:ext cx="561224" cy="1195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68" name="Picture 29"/>
            <p:cNvPicPr>
              <a:picLocks noChangeAspect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 rot="5400000" flipV="1">
              <a:off x="373178" y="1981098"/>
              <a:ext cx="473458" cy="512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9" name="Group 30"/>
            <p:cNvGrpSpPr>
              <a:grpSpLocks/>
            </p:cNvGrpSpPr>
            <p:nvPr/>
          </p:nvGrpSpPr>
          <p:grpSpPr bwMode="auto">
            <a:xfrm>
              <a:off x="1605826" y="1949721"/>
              <a:ext cx="650042" cy="512862"/>
              <a:chOff x="7737685" y="1640439"/>
              <a:chExt cx="650042" cy="512862"/>
            </a:xfrm>
          </p:grpSpPr>
          <p:pic>
            <p:nvPicPr>
              <p:cNvPr id="74" name="Picture 35"/>
              <p:cNvPicPr>
                <a:picLocks noChangeAspect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 rot="5400000" flipV="1">
                <a:off x="7894567" y="1649404"/>
                <a:ext cx="473458" cy="512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5" name="Picture 38"/>
              <p:cNvPicPr>
                <a:picLocks noChangeAspect="1"/>
              </p:cNvPicPr>
              <p:nvPr/>
            </p:nvPicPr>
            <p:blipFill>
              <a:blip r:embed="rId21"/>
              <a:srcRect/>
              <a:stretch>
                <a:fillRect/>
              </a:stretch>
            </p:blipFill>
            <p:spPr bwMode="auto">
              <a:xfrm flipV="1">
                <a:off x="7737685" y="1640439"/>
                <a:ext cx="473458" cy="5128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70" name="Oval 31"/>
            <p:cNvSpPr/>
            <p:nvPr/>
          </p:nvSpPr>
          <p:spPr>
            <a:xfrm>
              <a:off x="1576511" y="1299148"/>
              <a:ext cx="617896" cy="82385"/>
            </a:xfrm>
            <a:prstGeom prst="ellipse">
              <a:avLst/>
            </a:prstGeom>
            <a:solidFill>
              <a:schemeClr val="tx1"/>
            </a:solidFill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1" name="Oval 32"/>
            <p:cNvSpPr/>
            <p:nvPr/>
          </p:nvSpPr>
          <p:spPr>
            <a:xfrm>
              <a:off x="209393" y="1317078"/>
              <a:ext cx="617896" cy="82385"/>
            </a:xfrm>
            <a:prstGeom prst="ellipse">
              <a:avLst/>
            </a:prstGeom>
            <a:solidFill>
              <a:schemeClr val="tx1"/>
            </a:solidFill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pic>
          <p:nvPicPr>
            <p:cNvPr id="72" name="Picture 33"/>
            <p:cNvPicPr>
              <a:picLocks noChangeAspect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1733415" y="1317812"/>
              <a:ext cx="351417" cy="6572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3" name="Picture 34"/>
            <p:cNvPicPr>
              <a:picLocks noChangeAspect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352851" y="1331260"/>
              <a:ext cx="342093" cy="7019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0">
        <p:cut/>
      </p:transition>
    </mc:Choice>
    <mc:Fallback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19948</TotalTime>
  <Words>413</Words>
  <Application>Microsoft Office PowerPoint</Application>
  <PresentationFormat>Presentación en pantalla (4:3)</PresentationFormat>
  <Paragraphs>93</Paragraphs>
  <Slides>9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6" baseType="lpstr">
      <vt:lpstr>WBG-Any_Logo</vt:lpstr>
      <vt:lpstr>Full Page Interior</vt:lpstr>
      <vt:lpstr>1_Full Page Interior</vt:lpstr>
      <vt:lpstr>1_WBG-Any_Logo</vt:lpstr>
      <vt:lpstr>2_Full Page Interior</vt:lpstr>
      <vt:lpstr>3_Full Page Interior</vt:lpstr>
      <vt:lpstr>think-cell Slide</vt:lpstr>
      <vt:lpstr>Diapositiva 0</vt:lpstr>
      <vt:lpstr>1. Key takeaways from IUWM TDD</vt:lpstr>
      <vt:lpstr>2. What needs to be accomplished</vt:lpstr>
      <vt:lpstr>3.  Action Steps in the first 6 months</vt:lpstr>
      <vt:lpstr>4. Key stakeholders</vt:lpstr>
      <vt:lpstr>5. The timeline (18 months)</vt:lpstr>
      <vt:lpstr>6. Opportunities and Barriers</vt:lpstr>
      <vt:lpstr>7. Needs for assitance</vt:lpstr>
      <vt:lpstr>Panama Sanitation Experienc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A2016 World Bank TDLC</dc:title>
  <dc:creator>Daniel Levine</dc:creator>
  <cp:lastModifiedBy>fridanaid</cp:lastModifiedBy>
  <cp:revision>417</cp:revision>
  <cp:lastPrinted>2016-07-12T00:19:38Z</cp:lastPrinted>
  <dcterms:created xsi:type="dcterms:W3CDTF">2014-09-04T17:37:55Z</dcterms:created>
  <dcterms:modified xsi:type="dcterms:W3CDTF">2017-09-29T03:50:04Z</dcterms:modified>
</cp:coreProperties>
</file>